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pptx" ContentType="application/vnd.openxmlformats-officedocument.presentationml.presentation"/>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ink/ink1.xml" ContentType="application/inkml+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07" r:id="rId4"/>
  </p:sldMasterIdLst>
  <p:notesMasterIdLst>
    <p:notesMasterId r:id="rId6"/>
  </p:notesMasterIdLst>
  <p:handoutMasterIdLst>
    <p:handoutMasterId r:id="rId7"/>
  </p:handoutMasterIdLst>
  <p:sldIdLst>
    <p:sldId id="270" r:id="rId5"/>
  </p:sldIdLst>
  <p:sldSz cx="7772400" cy="10058400"/>
  <p:notesSz cx="6858000" cy="9313863"/>
  <p:defaultTextStyle>
    <a:defPPr lvl="0">
      <a:defRPr lang="en-GB"/>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7" pos="2448">
          <p15:clr>
            <a:srgbClr val="A4A3A4"/>
          </p15:clr>
        </p15:guide>
        <p15:guide id="8" orient="horz" pos="316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3CBFE"/>
    <a:srgbClr val="FFFF99"/>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C839FE0-2944-4B5D-AF28-ACA640062452}" v="5" dt="2019-08-09T07:11:56.9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0" d="100"/>
          <a:sy n="100" d="100"/>
        </p:scale>
        <p:origin x="2670" y="72"/>
      </p:cViewPr>
      <p:guideLst>
        <p:guide pos="2448"/>
        <p:guide orient="horz" pos="316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image" Target="../media/image2.wmf"/><Relationship Id="rId5" Type="http://schemas.openxmlformats.org/officeDocument/2006/relationships/image" Target="../media/image6.emf"/><Relationship Id="rId4"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6725"/>
          </a:xfrm>
          <a:prstGeom prst="rect">
            <a:avLst/>
          </a:prstGeom>
        </p:spPr>
        <p:txBody>
          <a:bodyPr vert="horz" lIns="91440" tIns="45720" rIns="91440" bIns="45720" rtlCol="0"/>
          <a:lstStyle>
            <a:lvl1pPr algn="r">
              <a:defRPr sz="1200"/>
            </a:lvl1pPr>
          </a:lstStyle>
          <a:p>
            <a:fld id="{35DF7403-EC80-4D20-9E33-CC9001F9A601}" type="datetimeFigureOut">
              <a:rPr lang="en-US" smtClean="0"/>
              <a:t>8/9/2019</a:t>
            </a:fld>
            <a:endParaRPr lang="en-US"/>
          </a:p>
        </p:txBody>
      </p:sp>
      <p:sp>
        <p:nvSpPr>
          <p:cNvPr id="4" name="Footer Placeholder 3"/>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847138"/>
            <a:ext cx="2971800" cy="466725"/>
          </a:xfrm>
          <a:prstGeom prst="rect">
            <a:avLst/>
          </a:prstGeom>
        </p:spPr>
        <p:txBody>
          <a:bodyPr vert="horz" lIns="91440" tIns="45720" rIns="91440" bIns="45720" rtlCol="0" anchor="b"/>
          <a:lstStyle>
            <a:lvl1pPr algn="r">
              <a:defRPr sz="1200"/>
            </a:lvl1pPr>
          </a:lstStyle>
          <a:p>
            <a:fld id="{1CCC95FF-7616-4293-AD79-099904606260}" type="slidenum">
              <a:rPr lang="en-US" smtClean="0"/>
              <a:t>‹#›</a:t>
            </a:fld>
            <a:endParaRPr lang="en-US"/>
          </a:p>
        </p:txBody>
      </p:sp>
    </p:spTree>
    <p:extLst>
      <p:ext uri="{BB962C8B-B14F-4D97-AF65-F5344CB8AC3E}">
        <p14:creationId xmlns:p14="http://schemas.microsoft.com/office/powerpoint/2010/main" val="2459455474"/>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2-15T16:29:55.708"/>
    </inkml:context>
    <inkml:brush xml:id="br0">
      <inkml:brushProperty name="width" value="0.04" units="cm"/>
      <inkml:brushProperty name="height" value="0.04" units="cm"/>
    </inkml:brush>
  </inkml:definitions>
  <inkml:trace contextRef="#ctx0" brushRef="#br0">6789 3403 11371,'0'0'1665,"0"0"-1665,0 0-961,0 0-1505,0 0-2723</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FDD865C6-3E2B-405E-97C5-6DF6C5879533}" type="datetimeFigureOut">
              <a:rPr lang="en-US" smtClean="0"/>
              <a:t>8/9/2019</a:t>
            </a:fld>
            <a:endParaRPr lang="en-US"/>
          </a:p>
        </p:txBody>
      </p:sp>
      <p:sp>
        <p:nvSpPr>
          <p:cNvPr id="4" name="Slide Image Placeholder 3"/>
          <p:cNvSpPr>
            <a:spLocks noGrp="1" noRot="1" noChangeAspect="1"/>
          </p:cNvSpPr>
          <p:nvPr>
            <p:ph type="sldImg" idx="2"/>
          </p:nvPr>
        </p:nvSpPr>
        <p:spPr>
          <a:xfrm>
            <a:off x="2214563" y="1163638"/>
            <a:ext cx="2428875" cy="31432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81513"/>
            <a:ext cx="5486400" cy="3144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7138"/>
            <a:ext cx="2971800"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7138"/>
            <a:ext cx="2971800" cy="466725"/>
          </a:xfrm>
          <a:prstGeom prst="rect">
            <a:avLst/>
          </a:prstGeom>
        </p:spPr>
        <p:txBody>
          <a:bodyPr vert="horz" lIns="91440" tIns="45720" rIns="91440" bIns="45720" rtlCol="0" anchor="b"/>
          <a:lstStyle>
            <a:lvl1pPr algn="r">
              <a:defRPr sz="1200"/>
            </a:lvl1pPr>
          </a:lstStyle>
          <a:p>
            <a:fld id="{E50F66B4-8853-4898-9507-409060A2B9AA}" type="slidenum">
              <a:rPr lang="en-US" smtClean="0"/>
              <a:t>‹#›</a:t>
            </a:fld>
            <a:endParaRPr lang="en-US"/>
          </a:p>
        </p:txBody>
      </p:sp>
    </p:spTree>
    <p:extLst>
      <p:ext uri="{BB962C8B-B14F-4D97-AF65-F5344CB8AC3E}">
        <p14:creationId xmlns:p14="http://schemas.microsoft.com/office/powerpoint/2010/main" val="30628579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customXml" Target="../ink/ink1.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dia">
    <p:spTree>
      <p:nvGrpSpPr>
        <p:cNvPr id="1" name=""/>
        <p:cNvGrpSpPr/>
        <p:nvPr/>
      </p:nvGrpSpPr>
      <p:grpSpPr>
        <a:xfrm>
          <a:off x="0" y="0"/>
          <a:ext cx="0" cy="0"/>
          <a:chOff x="0" y="0"/>
          <a:chExt cx="0" cy="0"/>
        </a:xfrm>
      </p:grpSpPr>
      <p:grpSp>
        <p:nvGrpSpPr>
          <p:cNvPr id="20" name="Groep 19"/>
          <p:cNvGrpSpPr>
            <a:grpSpLocks noSelect="1"/>
          </p:cNvGrpSpPr>
          <p:nvPr/>
        </p:nvGrpSpPr>
        <p:grpSpPr bwMode="gray">
          <a:xfrm>
            <a:off x="564854" y="422423"/>
            <a:ext cx="2052487" cy="841603"/>
            <a:chOff x="1103761" y="424844"/>
            <a:chExt cx="2893807" cy="687676"/>
          </a:xfrm>
        </p:grpSpPr>
        <p:sp>
          <p:nvSpPr>
            <p:cNvPr id="21" name="Rechthoek 20"/>
            <p:cNvSpPr>
              <a:spLocks noSelect="1"/>
            </p:cNvSpPr>
            <p:nvPr/>
          </p:nvSpPr>
          <p:spPr bwMode="gray">
            <a:xfrm>
              <a:off x="1740876" y="914400"/>
              <a:ext cx="1629509" cy="198120"/>
            </a:xfrm>
            <a:prstGeom prst="rect">
              <a:avLst/>
            </a:prstGeom>
            <a:solidFill>
              <a:srgbClr val="A61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85"/>
            </a:p>
          </p:txBody>
        </p:sp>
        <p:sp>
          <p:nvSpPr>
            <p:cNvPr id="22" name="Rechthoek 21"/>
            <p:cNvSpPr>
              <a:spLocks noSelect="1"/>
            </p:cNvSpPr>
            <p:nvPr/>
          </p:nvSpPr>
          <p:spPr bwMode="gray">
            <a:xfrm>
              <a:off x="1740876" y="530275"/>
              <a:ext cx="2256692" cy="345831"/>
            </a:xfrm>
            <a:prstGeom prst="rect">
              <a:avLst/>
            </a:prstGeom>
            <a:solidFill>
              <a:srgbClr val="4C0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85"/>
            </a:p>
          </p:txBody>
        </p:sp>
        <p:sp>
          <p:nvSpPr>
            <p:cNvPr id="23" name="Ovaal 22"/>
            <p:cNvSpPr>
              <a:spLocks noSelect="1"/>
            </p:cNvSpPr>
            <p:nvPr/>
          </p:nvSpPr>
          <p:spPr bwMode="gray">
            <a:xfrm rot="2700000">
              <a:off x="1081267" y="558387"/>
              <a:ext cx="346563" cy="214944"/>
            </a:xfrm>
            <a:prstGeom prst="ellipse">
              <a:avLst/>
            </a:prstGeom>
            <a:solidFill>
              <a:srgbClr val="FAB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85"/>
            </a:p>
          </p:txBody>
        </p:sp>
        <p:sp>
          <p:nvSpPr>
            <p:cNvPr id="24" name="Ovaal 23"/>
            <p:cNvSpPr>
              <a:spLocks noSelect="1"/>
            </p:cNvSpPr>
            <p:nvPr/>
          </p:nvSpPr>
          <p:spPr bwMode="gray">
            <a:xfrm rot="2180060">
              <a:off x="1103761" y="833869"/>
              <a:ext cx="417359" cy="240431"/>
            </a:xfrm>
            <a:prstGeom prst="ellipse">
              <a:avLst/>
            </a:prstGeom>
            <a:solidFill>
              <a:srgbClr val="A61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85"/>
            </a:p>
          </p:txBody>
        </p:sp>
        <p:sp>
          <p:nvSpPr>
            <p:cNvPr id="25" name="Ovaal 24"/>
            <p:cNvSpPr>
              <a:spLocks noSelect="1"/>
            </p:cNvSpPr>
            <p:nvPr/>
          </p:nvSpPr>
          <p:spPr bwMode="gray">
            <a:xfrm rot="17447966">
              <a:off x="1368350" y="660828"/>
              <a:ext cx="374347" cy="231935"/>
            </a:xfrm>
            <a:prstGeom prst="ellipse">
              <a:avLst/>
            </a:prstGeom>
            <a:solidFill>
              <a:srgbClr val="F09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85"/>
            </a:p>
          </p:txBody>
        </p:sp>
        <p:sp>
          <p:nvSpPr>
            <p:cNvPr id="26" name="Ovaal 25"/>
            <p:cNvSpPr>
              <a:spLocks noSelect="1"/>
            </p:cNvSpPr>
            <p:nvPr/>
          </p:nvSpPr>
          <p:spPr bwMode="gray">
            <a:xfrm rot="16949399">
              <a:off x="1318358" y="471729"/>
              <a:ext cx="269726" cy="17595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85"/>
            </a:p>
          </p:txBody>
        </p:sp>
      </p:grpSp>
      <p:sp>
        <p:nvSpPr>
          <p:cNvPr id="19" name="Tijdelijke aanduiding voor afbeelding 18"/>
          <p:cNvSpPr>
            <a:spLocks noGrp="1" noSelect="1"/>
          </p:cNvSpPr>
          <p:nvPr>
            <p:ph type="pic" sz="quarter" idx="13" hasCustomPrompt="1"/>
          </p:nvPr>
        </p:nvSpPr>
        <p:spPr bwMode="gray">
          <a:xfrm>
            <a:off x="1" y="1"/>
            <a:ext cx="7772399" cy="10058399"/>
          </a:xfrm>
          <a:custGeom>
            <a:avLst/>
            <a:gdLst>
              <a:gd name="connsiteX0" fmla="*/ 1909829 w 9143999"/>
              <a:gd name="connsiteY0" fmla="*/ 746126 h 6857999"/>
              <a:gd name="connsiteX1" fmla="*/ 1921515 w 9143999"/>
              <a:gd name="connsiteY1" fmla="*/ 767062 h 6857999"/>
              <a:gd name="connsiteX2" fmla="*/ 1921042 w 9143999"/>
              <a:gd name="connsiteY2" fmla="*/ 770897 h 6857999"/>
              <a:gd name="connsiteX3" fmla="*/ 1904776 w 9143999"/>
              <a:gd name="connsiteY3" fmla="*/ 793751 h 6857999"/>
              <a:gd name="connsiteX4" fmla="*/ 1893563 w 9143999"/>
              <a:gd name="connsiteY4" fmla="*/ 769459 h 6857999"/>
              <a:gd name="connsiteX5" fmla="*/ 1909829 w 9143999"/>
              <a:gd name="connsiteY5" fmla="*/ 746126 h 6857999"/>
              <a:gd name="connsiteX6" fmla="*/ 1752667 w 9143999"/>
              <a:gd name="connsiteY6" fmla="*/ 746126 h 6857999"/>
              <a:gd name="connsiteX7" fmla="*/ 1764353 w 9143999"/>
              <a:gd name="connsiteY7" fmla="*/ 767062 h 6857999"/>
              <a:gd name="connsiteX8" fmla="*/ 1763880 w 9143999"/>
              <a:gd name="connsiteY8" fmla="*/ 770897 h 6857999"/>
              <a:gd name="connsiteX9" fmla="*/ 1747614 w 9143999"/>
              <a:gd name="connsiteY9" fmla="*/ 793751 h 6857999"/>
              <a:gd name="connsiteX10" fmla="*/ 1736401 w 9143999"/>
              <a:gd name="connsiteY10" fmla="*/ 769459 h 6857999"/>
              <a:gd name="connsiteX11" fmla="*/ 1752667 w 9143999"/>
              <a:gd name="connsiteY11" fmla="*/ 746126 h 6857999"/>
              <a:gd name="connsiteX12" fmla="*/ 1646304 w 9143999"/>
              <a:gd name="connsiteY12" fmla="*/ 746126 h 6857999"/>
              <a:gd name="connsiteX13" fmla="*/ 1657675 w 9143999"/>
              <a:gd name="connsiteY13" fmla="*/ 769619 h 6857999"/>
              <a:gd name="connsiteX14" fmla="*/ 1641093 w 9143999"/>
              <a:gd name="connsiteY14" fmla="*/ 793751 h 6857999"/>
              <a:gd name="connsiteX15" fmla="*/ 1629880 w 9143999"/>
              <a:gd name="connsiteY15" fmla="*/ 769619 h 6857999"/>
              <a:gd name="connsiteX16" fmla="*/ 1646304 w 9143999"/>
              <a:gd name="connsiteY16" fmla="*/ 746126 h 6857999"/>
              <a:gd name="connsiteX17" fmla="*/ 1464425 w 9143999"/>
              <a:gd name="connsiteY17" fmla="*/ 746126 h 6857999"/>
              <a:gd name="connsiteX18" fmla="*/ 1476674 w 9143999"/>
              <a:gd name="connsiteY18" fmla="*/ 769462 h 6857999"/>
              <a:gd name="connsiteX19" fmla="*/ 1459751 w 9143999"/>
              <a:gd name="connsiteY19" fmla="*/ 793751 h 6857999"/>
              <a:gd name="connsiteX20" fmla="*/ 1448308 w 9143999"/>
              <a:gd name="connsiteY20" fmla="*/ 769304 h 6857999"/>
              <a:gd name="connsiteX21" fmla="*/ 1464425 w 9143999"/>
              <a:gd name="connsiteY21" fmla="*/ 746126 h 6857999"/>
              <a:gd name="connsiteX22" fmla="*/ 1386046 w 9143999"/>
              <a:gd name="connsiteY22" fmla="*/ 746126 h 6857999"/>
              <a:gd name="connsiteX23" fmla="*/ 1397635 w 9143999"/>
              <a:gd name="connsiteY23" fmla="*/ 766992 h 6857999"/>
              <a:gd name="connsiteX24" fmla="*/ 1397318 w 9143999"/>
              <a:gd name="connsiteY24" fmla="*/ 770815 h 6857999"/>
              <a:gd name="connsiteX25" fmla="*/ 1380966 w 9143999"/>
              <a:gd name="connsiteY25" fmla="*/ 793751 h 6857999"/>
              <a:gd name="connsiteX26" fmla="*/ 1369536 w 9143999"/>
              <a:gd name="connsiteY26" fmla="*/ 769540 h 6857999"/>
              <a:gd name="connsiteX27" fmla="*/ 1386046 w 9143999"/>
              <a:gd name="connsiteY27" fmla="*/ 746126 h 6857999"/>
              <a:gd name="connsiteX28" fmla="*/ 2479170 w 9143999"/>
              <a:gd name="connsiteY28" fmla="*/ 744538 h 6857999"/>
              <a:gd name="connsiteX29" fmla="*/ 2490003 w 9143999"/>
              <a:gd name="connsiteY29" fmla="*/ 756445 h 6857999"/>
              <a:gd name="connsiteX30" fmla="*/ 2474774 w 9143999"/>
              <a:gd name="connsiteY30" fmla="*/ 768351 h 6857999"/>
              <a:gd name="connsiteX31" fmla="*/ 2462213 w 9143999"/>
              <a:gd name="connsiteY31" fmla="*/ 768351 h 6857999"/>
              <a:gd name="connsiteX32" fmla="*/ 2462370 w 9143999"/>
              <a:gd name="connsiteY32" fmla="*/ 766742 h 6857999"/>
              <a:gd name="connsiteX33" fmla="*/ 2479170 w 9143999"/>
              <a:gd name="connsiteY33" fmla="*/ 744538 h 6857999"/>
              <a:gd name="connsiteX34" fmla="*/ 2335503 w 9143999"/>
              <a:gd name="connsiteY34" fmla="*/ 736601 h 6857999"/>
              <a:gd name="connsiteX35" fmla="*/ 2331387 w 9143999"/>
              <a:gd name="connsiteY35" fmla="*/ 740261 h 6857999"/>
              <a:gd name="connsiteX36" fmla="*/ 2327272 w 9143999"/>
              <a:gd name="connsiteY36" fmla="*/ 778291 h 6857999"/>
              <a:gd name="connsiteX37" fmla="*/ 2344052 w 9143999"/>
              <a:gd name="connsiteY37" fmla="*/ 804864 h 6857999"/>
              <a:gd name="connsiteX38" fmla="*/ 2362732 w 9143999"/>
              <a:gd name="connsiteY38" fmla="*/ 795158 h 6857999"/>
              <a:gd name="connsiteX39" fmla="*/ 2372231 w 9143999"/>
              <a:gd name="connsiteY39" fmla="*/ 804228 h 6857999"/>
              <a:gd name="connsiteX40" fmla="*/ 2382521 w 9143999"/>
              <a:gd name="connsiteY40" fmla="*/ 797067 h 6857999"/>
              <a:gd name="connsiteX41" fmla="*/ 2380780 w 9143999"/>
              <a:gd name="connsiteY41" fmla="*/ 794044 h 6857999"/>
              <a:gd name="connsiteX42" fmla="*/ 2376031 w 9143999"/>
              <a:gd name="connsiteY42" fmla="*/ 786565 h 6857999"/>
              <a:gd name="connsiteX43" fmla="*/ 2381096 w 9143999"/>
              <a:gd name="connsiteY43" fmla="*/ 740261 h 6857999"/>
              <a:gd name="connsiteX44" fmla="*/ 2377930 w 9143999"/>
              <a:gd name="connsiteY44" fmla="*/ 736601 h 6857999"/>
              <a:gd name="connsiteX45" fmla="*/ 2371914 w 9143999"/>
              <a:gd name="connsiteY45" fmla="*/ 736601 h 6857999"/>
              <a:gd name="connsiteX46" fmla="*/ 2368115 w 9143999"/>
              <a:gd name="connsiteY46" fmla="*/ 740261 h 6857999"/>
              <a:gd name="connsiteX47" fmla="*/ 2363366 w 9143999"/>
              <a:gd name="connsiteY47" fmla="*/ 783701 h 6857999"/>
              <a:gd name="connsiteX48" fmla="*/ 2349276 w 9143999"/>
              <a:gd name="connsiteY48" fmla="*/ 793885 h 6857999"/>
              <a:gd name="connsiteX49" fmla="*/ 2340252 w 9143999"/>
              <a:gd name="connsiteY49" fmla="*/ 779564 h 6857999"/>
              <a:gd name="connsiteX50" fmla="*/ 2344527 w 9143999"/>
              <a:gd name="connsiteY50" fmla="*/ 740261 h 6857999"/>
              <a:gd name="connsiteX51" fmla="*/ 2341361 w 9143999"/>
              <a:gd name="connsiteY51" fmla="*/ 736601 h 6857999"/>
              <a:gd name="connsiteX52" fmla="*/ 2335503 w 9143999"/>
              <a:gd name="connsiteY52" fmla="*/ 736601 h 6857999"/>
              <a:gd name="connsiteX53" fmla="*/ 2213107 w 9143999"/>
              <a:gd name="connsiteY53" fmla="*/ 736601 h 6857999"/>
              <a:gd name="connsiteX54" fmla="*/ 2209149 w 9143999"/>
              <a:gd name="connsiteY54" fmla="*/ 740261 h 6857999"/>
              <a:gd name="connsiteX55" fmla="*/ 2205033 w 9143999"/>
              <a:gd name="connsiteY55" fmla="*/ 778291 h 6857999"/>
              <a:gd name="connsiteX56" fmla="*/ 2221815 w 9143999"/>
              <a:gd name="connsiteY56" fmla="*/ 804864 h 6857999"/>
              <a:gd name="connsiteX57" fmla="*/ 2240494 w 9143999"/>
              <a:gd name="connsiteY57" fmla="*/ 795158 h 6857999"/>
              <a:gd name="connsiteX58" fmla="*/ 2249994 w 9143999"/>
              <a:gd name="connsiteY58" fmla="*/ 804387 h 6857999"/>
              <a:gd name="connsiteX59" fmla="*/ 2260283 w 9143999"/>
              <a:gd name="connsiteY59" fmla="*/ 797067 h 6857999"/>
              <a:gd name="connsiteX60" fmla="*/ 2258543 w 9143999"/>
              <a:gd name="connsiteY60" fmla="*/ 794044 h 6857999"/>
              <a:gd name="connsiteX61" fmla="*/ 2253793 w 9143999"/>
              <a:gd name="connsiteY61" fmla="*/ 786565 h 6857999"/>
              <a:gd name="connsiteX62" fmla="*/ 2258858 w 9143999"/>
              <a:gd name="connsiteY62" fmla="*/ 740261 h 6857999"/>
              <a:gd name="connsiteX63" fmla="*/ 2255692 w 9143999"/>
              <a:gd name="connsiteY63" fmla="*/ 736601 h 6857999"/>
              <a:gd name="connsiteX64" fmla="*/ 2249676 w 9143999"/>
              <a:gd name="connsiteY64" fmla="*/ 736601 h 6857999"/>
              <a:gd name="connsiteX65" fmla="*/ 2245719 w 9143999"/>
              <a:gd name="connsiteY65" fmla="*/ 740261 h 6857999"/>
              <a:gd name="connsiteX66" fmla="*/ 2241128 w 9143999"/>
              <a:gd name="connsiteY66" fmla="*/ 783701 h 6857999"/>
              <a:gd name="connsiteX67" fmla="*/ 2227038 w 9143999"/>
              <a:gd name="connsiteY67" fmla="*/ 794044 h 6857999"/>
              <a:gd name="connsiteX68" fmla="*/ 2218014 w 9143999"/>
              <a:gd name="connsiteY68" fmla="*/ 779564 h 6857999"/>
              <a:gd name="connsiteX69" fmla="*/ 2222290 w 9143999"/>
              <a:gd name="connsiteY69" fmla="*/ 740261 h 6857999"/>
              <a:gd name="connsiteX70" fmla="*/ 2219123 w 9143999"/>
              <a:gd name="connsiteY70" fmla="*/ 736601 h 6857999"/>
              <a:gd name="connsiteX71" fmla="*/ 2213107 w 9143999"/>
              <a:gd name="connsiteY71" fmla="*/ 736601 h 6857999"/>
              <a:gd name="connsiteX72" fmla="*/ 2109895 w 9143999"/>
              <a:gd name="connsiteY72" fmla="*/ 736601 h 6857999"/>
              <a:gd name="connsiteX73" fmla="*/ 2104555 w 9143999"/>
              <a:gd name="connsiteY73" fmla="*/ 741061 h 6857999"/>
              <a:gd name="connsiteX74" fmla="*/ 2086106 w 9143999"/>
              <a:gd name="connsiteY74" fmla="*/ 791238 h 6857999"/>
              <a:gd name="connsiteX75" fmla="*/ 2077367 w 9143999"/>
              <a:gd name="connsiteY75" fmla="*/ 741698 h 6857999"/>
              <a:gd name="connsiteX76" fmla="*/ 2072836 w 9143999"/>
              <a:gd name="connsiteY76" fmla="*/ 736760 h 6857999"/>
              <a:gd name="connsiteX77" fmla="*/ 2066686 w 9143999"/>
              <a:gd name="connsiteY77" fmla="*/ 736760 h 6857999"/>
              <a:gd name="connsiteX78" fmla="*/ 2063611 w 9143999"/>
              <a:gd name="connsiteY78" fmla="*/ 740902 h 6857999"/>
              <a:gd name="connsiteX79" fmla="*/ 2078014 w 9143999"/>
              <a:gd name="connsiteY79" fmla="*/ 803344 h 6857999"/>
              <a:gd name="connsiteX80" fmla="*/ 2076234 w 9143999"/>
              <a:gd name="connsiteY80" fmla="*/ 807485 h 6857999"/>
              <a:gd name="connsiteX81" fmla="*/ 2057300 w 9143999"/>
              <a:gd name="connsiteY81" fmla="*/ 820707 h 6857999"/>
              <a:gd name="connsiteX82" fmla="*/ 2054549 w 9143999"/>
              <a:gd name="connsiteY82" fmla="*/ 823733 h 6857999"/>
              <a:gd name="connsiteX83" fmla="*/ 2063935 w 9143999"/>
              <a:gd name="connsiteY83" fmla="*/ 830264 h 6857999"/>
              <a:gd name="connsiteX84" fmla="*/ 2094198 w 9143999"/>
              <a:gd name="connsiteY84" fmla="*/ 798724 h 6857999"/>
              <a:gd name="connsiteX85" fmla="*/ 2119605 w 9143999"/>
              <a:gd name="connsiteY85" fmla="*/ 740902 h 6857999"/>
              <a:gd name="connsiteX86" fmla="*/ 2117502 w 9143999"/>
              <a:gd name="connsiteY86" fmla="*/ 736601 h 6857999"/>
              <a:gd name="connsiteX87" fmla="*/ 1515815 w 9143999"/>
              <a:gd name="connsiteY87" fmla="*/ 736601 h 6857999"/>
              <a:gd name="connsiteX88" fmla="*/ 1511701 w 9143999"/>
              <a:gd name="connsiteY88" fmla="*/ 740295 h 6857999"/>
              <a:gd name="connsiteX89" fmla="*/ 1506267 w 9143999"/>
              <a:gd name="connsiteY89" fmla="*/ 788802 h 6857999"/>
              <a:gd name="connsiteX90" fmla="*/ 1516145 w 9143999"/>
              <a:gd name="connsiteY90" fmla="*/ 804864 h 6857999"/>
              <a:gd name="connsiteX91" fmla="*/ 1526846 w 9143999"/>
              <a:gd name="connsiteY91" fmla="*/ 797636 h 6857999"/>
              <a:gd name="connsiteX92" fmla="*/ 1524870 w 9143999"/>
              <a:gd name="connsiteY92" fmla="*/ 794584 h 6857999"/>
              <a:gd name="connsiteX93" fmla="*/ 1520096 w 9143999"/>
              <a:gd name="connsiteY93" fmla="*/ 786875 h 6857999"/>
              <a:gd name="connsiteX94" fmla="*/ 1525199 w 9143999"/>
              <a:gd name="connsiteY94" fmla="*/ 740295 h 6857999"/>
              <a:gd name="connsiteX95" fmla="*/ 1521907 w 9143999"/>
              <a:gd name="connsiteY95" fmla="*/ 736601 h 6857999"/>
              <a:gd name="connsiteX96" fmla="*/ 1515815 w 9143999"/>
              <a:gd name="connsiteY96" fmla="*/ 736601 h 6857999"/>
              <a:gd name="connsiteX97" fmla="*/ 2478906 w 9143999"/>
              <a:gd name="connsiteY97" fmla="*/ 735173 h 6857999"/>
              <a:gd name="connsiteX98" fmla="*/ 2449156 w 9143999"/>
              <a:gd name="connsiteY98" fmla="*/ 768184 h 6857999"/>
              <a:gd name="connsiteX99" fmla="*/ 2475148 w 9143999"/>
              <a:gd name="connsiteY99" fmla="*/ 804863 h 6857999"/>
              <a:gd name="connsiteX100" fmla="*/ 2493311 w 9143999"/>
              <a:gd name="connsiteY100" fmla="*/ 800398 h 6857999"/>
              <a:gd name="connsiteX101" fmla="*/ 2497695 w 9143999"/>
              <a:gd name="connsiteY101" fmla="*/ 793859 h 6857999"/>
              <a:gd name="connsiteX102" fmla="*/ 2495816 w 9143999"/>
              <a:gd name="connsiteY102" fmla="*/ 790510 h 6857999"/>
              <a:gd name="connsiteX103" fmla="*/ 2477183 w 9143999"/>
              <a:gd name="connsiteY103" fmla="*/ 794338 h 6857999"/>
              <a:gd name="connsiteX104" fmla="*/ 2461369 w 9143999"/>
              <a:gd name="connsiteY104" fmla="*/ 776955 h 6857999"/>
              <a:gd name="connsiteX105" fmla="*/ 2474678 w 9143999"/>
              <a:gd name="connsiteY105" fmla="*/ 776955 h 6857999"/>
              <a:gd name="connsiteX106" fmla="*/ 2502236 w 9143999"/>
              <a:gd name="connsiteY106" fmla="*/ 757499 h 6857999"/>
              <a:gd name="connsiteX107" fmla="*/ 2478906 w 9143999"/>
              <a:gd name="connsiteY107" fmla="*/ 735173 h 6857999"/>
              <a:gd name="connsiteX108" fmla="*/ 2431416 w 9143999"/>
              <a:gd name="connsiteY108" fmla="*/ 735013 h 6857999"/>
              <a:gd name="connsiteX109" fmla="*/ 2417446 w 9143999"/>
              <a:gd name="connsiteY109" fmla="*/ 742207 h 6857999"/>
              <a:gd name="connsiteX110" fmla="*/ 2409826 w 9143999"/>
              <a:gd name="connsiteY110" fmla="*/ 736452 h 6857999"/>
              <a:gd name="connsiteX111" fmla="*/ 2405381 w 9143999"/>
              <a:gd name="connsiteY111" fmla="*/ 739649 h 6857999"/>
              <a:gd name="connsiteX112" fmla="*/ 2398873 w 9143999"/>
              <a:gd name="connsiteY112" fmla="*/ 799599 h 6857999"/>
              <a:gd name="connsiteX113" fmla="*/ 2402206 w 9143999"/>
              <a:gd name="connsiteY113" fmla="*/ 803276 h 6857999"/>
              <a:gd name="connsiteX114" fmla="*/ 2408238 w 9143999"/>
              <a:gd name="connsiteY114" fmla="*/ 803276 h 6857999"/>
              <a:gd name="connsiteX115" fmla="*/ 2412207 w 9143999"/>
              <a:gd name="connsiteY115" fmla="*/ 799599 h 6857999"/>
              <a:gd name="connsiteX116" fmla="*/ 2416177 w 9143999"/>
              <a:gd name="connsiteY116" fmla="*/ 762030 h 6857999"/>
              <a:gd name="connsiteX117" fmla="*/ 2430940 w 9143999"/>
              <a:gd name="connsiteY117" fmla="*/ 746843 h 6857999"/>
              <a:gd name="connsiteX118" fmla="*/ 2438401 w 9143999"/>
              <a:gd name="connsiteY118" fmla="*/ 748762 h 6857999"/>
              <a:gd name="connsiteX119" fmla="*/ 2441259 w 9143999"/>
              <a:gd name="connsiteY119" fmla="*/ 743486 h 6857999"/>
              <a:gd name="connsiteX120" fmla="*/ 2431416 w 9143999"/>
              <a:gd name="connsiteY120" fmla="*/ 735013 h 6857999"/>
              <a:gd name="connsiteX121" fmla="*/ 1981421 w 9143999"/>
              <a:gd name="connsiteY121" fmla="*/ 735013 h 6857999"/>
              <a:gd name="connsiteX122" fmla="*/ 1957468 w 9143999"/>
              <a:gd name="connsiteY122" fmla="*/ 752595 h 6857999"/>
              <a:gd name="connsiteX123" fmla="*/ 1985762 w 9143999"/>
              <a:gd name="connsiteY123" fmla="*/ 785203 h 6857999"/>
              <a:gd name="connsiteX124" fmla="*/ 1971937 w 9143999"/>
              <a:gd name="connsiteY124" fmla="*/ 794633 h 6857999"/>
              <a:gd name="connsiteX125" fmla="*/ 1954253 w 9143999"/>
              <a:gd name="connsiteY125" fmla="*/ 789998 h 6857999"/>
              <a:gd name="connsiteX126" fmla="*/ 1951681 w 9143999"/>
              <a:gd name="connsiteY126" fmla="*/ 794154 h 6857999"/>
              <a:gd name="connsiteX127" fmla="*/ 1972419 w 9143999"/>
              <a:gd name="connsiteY127" fmla="*/ 804863 h 6857999"/>
              <a:gd name="connsiteX128" fmla="*/ 1999105 w 9143999"/>
              <a:gd name="connsiteY128" fmla="*/ 785203 h 6857999"/>
              <a:gd name="connsiteX129" fmla="*/ 1970490 w 9143999"/>
              <a:gd name="connsiteY129" fmla="*/ 753075 h 6857999"/>
              <a:gd name="connsiteX130" fmla="*/ 1983351 w 9143999"/>
              <a:gd name="connsiteY130" fmla="*/ 745243 h 6857999"/>
              <a:gd name="connsiteX131" fmla="*/ 1998140 w 9143999"/>
              <a:gd name="connsiteY131" fmla="*/ 749718 h 6857999"/>
              <a:gd name="connsiteX132" fmla="*/ 2000873 w 9143999"/>
              <a:gd name="connsiteY132" fmla="*/ 745882 h 6857999"/>
              <a:gd name="connsiteX133" fmla="*/ 1981421 w 9143999"/>
              <a:gd name="connsiteY133" fmla="*/ 735013 h 6857999"/>
              <a:gd name="connsiteX134" fmla="*/ 1907942 w 9143999"/>
              <a:gd name="connsiteY134" fmla="*/ 735013 h 6857999"/>
              <a:gd name="connsiteX135" fmla="*/ 1879883 w 9143999"/>
              <a:gd name="connsiteY135" fmla="*/ 767524 h 6857999"/>
              <a:gd name="connsiteX136" fmla="*/ 1899992 w 9143999"/>
              <a:gd name="connsiteY136" fmla="*/ 804702 h 6857999"/>
              <a:gd name="connsiteX137" fmla="*/ 1918230 w 9143999"/>
              <a:gd name="connsiteY137" fmla="*/ 795689 h 6857999"/>
              <a:gd name="connsiteX138" fmla="*/ 1927738 w 9143999"/>
              <a:gd name="connsiteY138" fmla="*/ 804863 h 6857999"/>
              <a:gd name="connsiteX139" fmla="*/ 1938026 w 9143999"/>
              <a:gd name="connsiteY139" fmla="*/ 797460 h 6857999"/>
              <a:gd name="connsiteX140" fmla="*/ 1936156 w 9143999"/>
              <a:gd name="connsiteY140" fmla="*/ 794563 h 6857999"/>
              <a:gd name="connsiteX141" fmla="*/ 1931479 w 9143999"/>
              <a:gd name="connsiteY141" fmla="*/ 787642 h 6857999"/>
              <a:gd name="connsiteX142" fmla="*/ 1936623 w 9143999"/>
              <a:gd name="connsiteY142" fmla="*/ 739680 h 6857999"/>
              <a:gd name="connsiteX143" fmla="*/ 1932882 w 9143999"/>
              <a:gd name="connsiteY143" fmla="*/ 736462 h 6857999"/>
              <a:gd name="connsiteX144" fmla="*/ 1923685 w 9143999"/>
              <a:gd name="connsiteY144" fmla="*/ 743060 h 6857999"/>
              <a:gd name="connsiteX145" fmla="*/ 1907942 w 9143999"/>
              <a:gd name="connsiteY145" fmla="*/ 735013 h 6857999"/>
              <a:gd name="connsiteX146" fmla="*/ 1751566 w 9143999"/>
              <a:gd name="connsiteY146" fmla="*/ 735013 h 6857999"/>
              <a:gd name="connsiteX147" fmla="*/ 1722770 w 9143999"/>
              <a:gd name="connsiteY147" fmla="*/ 767524 h 6857999"/>
              <a:gd name="connsiteX148" fmla="*/ 1743407 w 9143999"/>
              <a:gd name="connsiteY148" fmla="*/ 804702 h 6857999"/>
              <a:gd name="connsiteX149" fmla="*/ 1762125 w 9143999"/>
              <a:gd name="connsiteY149" fmla="*/ 795689 h 6857999"/>
              <a:gd name="connsiteX150" fmla="*/ 1771884 w 9143999"/>
              <a:gd name="connsiteY150" fmla="*/ 804863 h 6857999"/>
              <a:gd name="connsiteX151" fmla="*/ 1782443 w 9143999"/>
              <a:gd name="connsiteY151" fmla="*/ 797460 h 6857999"/>
              <a:gd name="connsiteX152" fmla="*/ 1780523 w 9143999"/>
              <a:gd name="connsiteY152" fmla="*/ 794563 h 6857999"/>
              <a:gd name="connsiteX153" fmla="*/ 1775724 w 9143999"/>
              <a:gd name="connsiteY153" fmla="*/ 787642 h 6857999"/>
              <a:gd name="connsiteX154" fmla="*/ 1781003 w 9143999"/>
              <a:gd name="connsiteY154" fmla="*/ 739841 h 6857999"/>
              <a:gd name="connsiteX155" fmla="*/ 1777164 w 9143999"/>
              <a:gd name="connsiteY155" fmla="*/ 736462 h 6857999"/>
              <a:gd name="connsiteX156" fmla="*/ 1767725 w 9143999"/>
              <a:gd name="connsiteY156" fmla="*/ 743060 h 6857999"/>
              <a:gd name="connsiteX157" fmla="*/ 1751566 w 9143999"/>
              <a:gd name="connsiteY157" fmla="*/ 735013 h 6857999"/>
              <a:gd name="connsiteX158" fmla="*/ 1643463 w 9143999"/>
              <a:gd name="connsiteY158" fmla="*/ 735013 h 6857999"/>
              <a:gd name="connsiteX159" fmla="*/ 1615133 w 9143999"/>
              <a:gd name="connsiteY159" fmla="*/ 767399 h 6857999"/>
              <a:gd name="connsiteX160" fmla="*/ 1636460 w 9143999"/>
              <a:gd name="connsiteY160" fmla="*/ 804435 h 6857999"/>
              <a:gd name="connsiteX161" fmla="*/ 1653808 w 9143999"/>
              <a:gd name="connsiteY161" fmla="*/ 796419 h 6857999"/>
              <a:gd name="connsiteX162" fmla="*/ 1653331 w 9143999"/>
              <a:gd name="connsiteY162" fmla="*/ 801549 h 6857999"/>
              <a:gd name="connsiteX163" fmla="*/ 1633914 w 9143999"/>
              <a:gd name="connsiteY163" fmla="*/ 820949 h 6857999"/>
              <a:gd name="connsiteX164" fmla="*/ 1614337 w 9143999"/>
              <a:gd name="connsiteY164" fmla="*/ 816780 h 6857999"/>
              <a:gd name="connsiteX165" fmla="*/ 1612109 w 9143999"/>
              <a:gd name="connsiteY165" fmla="*/ 820788 h 6857999"/>
              <a:gd name="connsiteX166" fmla="*/ 1633754 w 9143999"/>
              <a:gd name="connsiteY166" fmla="*/ 831851 h 6857999"/>
              <a:gd name="connsiteX167" fmla="*/ 1666382 w 9143999"/>
              <a:gd name="connsiteY167" fmla="*/ 801549 h 6857999"/>
              <a:gd name="connsiteX168" fmla="*/ 1673067 w 9143999"/>
              <a:gd name="connsiteY168" fmla="*/ 739823 h 6857999"/>
              <a:gd name="connsiteX169" fmla="*/ 1669247 w 9143999"/>
              <a:gd name="connsiteY169" fmla="*/ 736616 h 6857999"/>
              <a:gd name="connsiteX170" fmla="*/ 1660016 w 9143999"/>
              <a:gd name="connsiteY170" fmla="*/ 743190 h 6857999"/>
              <a:gd name="connsiteX171" fmla="*/ 1643463 w 9143999"/>
              <a:gd name="connsiteY171" fmla="*/ 735013 h 6857999"/>
              <a:gd name="connsiteX172" fmla="*/ 1579235 w 9143999"/>
              <a:gd name="connsiteY172" fmla="*/ 735013 h 6857999"/>
              <a:gd name="connsiteX173" fmla="*/ 1560829 w 9143999"/>
              <a:gd name="connsiteY173" fmla="*/ 743259 h 6857999"/>
              <a:gd name="connsiteX174" fmla="*/ 1552826 w 9143999"/>
              <a:gd name="connsiteY174" fmla="*/ 736307 h 6857999"/>
              <a:gd name="connsiteX175" fmla="*/ 1548345 w 9143999"/>
              <a:gd name="connsiteY175" fmla="*/ 739702 h 6857999"/>
              <a:gd name="connsiteX176" fmla="*/ 1541783 w 9143999"/>
              <a:gd name="connsiteY176" fmla="*/ 800174 h 6857999"/>
              <a:gd name="connsiteX177" fmla="*/ 1545144 w 9143999"/>
              <a:gd name="connsiteY177" fmla="*/ 803731 h 6857999"/>
              <a:gd name="connsiteX178" fmla="*/ 1551066 w 9143999"/>
              <a:gd name="connsiteY178" fmla="*/ 803731 h 6857999"/>
              <a:gd name="connsiteX179" fmla="*/ 1555067 w 9143999"/>
              <a:gd name="connsiteY179" fmla="*/ 800174 h 6857999"/>
              <a:gd name="connsiteX180" fmla="*/ 1559869 w 9143999"/>
              <a:gd name="connsiteY180" fmla="*/ 755709 h 6857999"/>
              <a:gd name="connsiteX181" fmla="*/ 1573793 w 9143999"/>
              <a:gd name="connsiteY181" fmla="*/ 746170 h 6857999"/>
              <a:gd name="connsiteX182" fmla="*/ 1582756 w 9143999"/>
              <a:gd name="connsiteY182" fmla="*/ 761530 h 6857999"/>
              <a:gd name="connsiteX183" fmla="*/ 1579875 w 9143999"/>
              <a:gd name="connsiteY183" fmla="*/ 788694 h 6857999"/>
              <a:gd name="connsiteX184" fmla="*/ 1589478 w 9143999"/>
              <a:gd name="connsiteY184" fmla="*/ 804863 h 6857999"/>
              <a:gd name="connsiteX185" fmla="*/ 1600041 w 9143999"/>
              <a:gd name="connsiteY185" fmla="*/ 797587 h 6857999"/>
              <a:gd name="connsiteX186" fmla="*/ 1597960 w 9143999"/>
              <a:gd name="connsiteY186" fmla="*/ 794515 h 6857999"/>
              <a:gd name="connsiteX187" fmla="*/ 1593319 w 9143999"/>
              <a:gd name="connsiteY187" fmla="*/ 786754 h 6857999"/>
              <a:gd name="connsiteX188" fmla="*/ 1596040 w 9143999"/>
              <a:gd name="connsiteY188" fmla="*/ 762824 h 6857999"/>
              <a:gd name="connsiteX189" fmla="*/ 1579235 w 9143999"/>
              <a:gd name="connsiteY189" fmla="*/ 735013 h 6857999"/>
              <a:gd name="connsiteX190" fmla="*/ 1469320 w 9143999"/>
              <a:gd name="connsiteY190" fmla="*/ 735013 h 6857999"/>
              <a:gd name="connsiteX191" fmla="*/ 1451360 w 9143999"/>
              <a:gd name="connsiteY191" fmla="*/ 744839 h 6857999"/>
              <a:gd name="connsiteX192" fmla="*/ 1451039 w 9143999"/>
              <a:gd name="connsiteY192" fmla="*/ 744047 h 6857999"/>
              <a:gd name="connsiteX193" fmla="*/ 1451199 w 9143999"/>
              <a:gd name="connsiteY193" fmla="*/ 743096 h 6857999"/>
              <a:gd name="connsiteX194" fmla="*/ 1451039 w 9143999"/>
              <a:gd name="connsiteY194" fmla="*/ 743096 h 6857999"/>
              <a:gd name="connsiteX195" fmla="*/ 1442861 w 9143999"/>
              <a:gd name="connsiteY195" fmla="*/ 736439 h 6857999"/>
              <a:gd name="connsiteX196" fmla="*/ 1438372 w 9143999"/>
              <a:gd name="connsiteY196" fmla="*/ 739767 h 6857999"/>
              <a:gd name="connsiteX197" fmla="*/ 1429071 w 9143999"/>
              <a:gd name="connsiteY197" fmla="*/ 825189 h 6857999"/>
              <a:gd name="connsiteX198" fmla="*/ 1432117 w 9143999"/>
              <a:gd name="connsiteY198" fmla="*/ 828676 h 6857999"/>
              <a:gd name="connsiteX199" fmla="*/ 1438211 w 9143999"/>
              <a:gd name="connsiteY199" fmla="*/ 828676 h 6857999"/>
              <a:gd name="connsiteX200" fmla="*/ 1442220 w 9143999"/>
              <a:gd name="connsiteY200" fmla="*/ 825189 h 6857999"/>
              <a:gd name="connsiteX201" fmla="*/ 1445587 w 9143999"/>
              <a:gd name="connsiteY201" fmla="*/ 793176 h 6857999"/>
              <a:gd name="connsiteX202" fmla="*/ 1462585 w 9143999"/>
              <a:gd name="connsiteY202" fmla="*/ 804111 h 6857999"/>
              <a:gd name="connsiteX203" fmla="*/ 1490326 w 9143999"/>
              <a:gd name="connsiteY203" fmla="*/ 770830 h 6857999"/>
              <a:gd name="connsiteX204" fmla="*/ 1469320 w 9143999"/>
              <a:gd name="connsiteY204" fmla="*/ 735013 h 6857999"/>
              <a:gd name="connsiteX205" fmla="*/ 1384854 w 9143999"/>
              <a:gd name="connsiteY205" fmla="*/ 735013 h 6857999"/>
              <a:gd name="connsiteX206" fmla="*/ 1355898 w 9143999"/>
              <a:gd name="connsiteY206" fmla="*/ 767685 h 6857999"/>
              <a:gd name="connsiteX207" fmla="*/ 1376695 w 9143999"/>
              <a:gd name="connsiteY207" fmla="*/ 804702 h 6857999"/>
              <a:gd name="connsiteX208" fmla="*/ 1395413 w 9143999"/>
              <a:gd name="connsiteY208" fmla="*/ 795689 h 6857999"/>
              <a:gd name="connsiteX209" fmla="*/ 1405172 w 9143999"/>
              <a:gd name="connsiteY209" fmla="*/ 804863 h 6857999"/>
              <a:gd name="connsiteX210" fmla="*/ 1415731 w 9143999"/>
              <a:gd name="connsiteY210" fmla="*/ 797460 h 6857999"/>
              <a:gd name="connsiteX211" fmla="*/ 1413811 w 9143999"/>
              <a:gd name="connsiteY211" fmla="*/ 794563 h 6857999"/>
              <a:gd name="connsiteX212" fmla="*/ 1409013 w 9143999"/>
              <a:gd name="connsiteY212" fmla="*/ 787803 h 6857999"/>
              <a:gd name="connsiteX213" fmla="*/ 1414131 w 9143999"/>
              <a:gd name="connsiteY213" fmla="*/ 739841 h 6857999"/>
              <a:gd name="connsiteX214" fmla="*/ 1410452 w 9143999"/>
              <a:gd name="connsiteY214" fmla="*/ 736462 h 6857999"/>
              <a:gd name="connsiteX215" fmla="*/ 1401013 w 9143999"/>
              <a:gd name="connsiteY215" fmla="*/ 743221 h 6857999"/>
              <a:gd name="connsiteX216" fmla="*/ 1384854 w 9143999"/>
              <a:gd name="connsiteY216" fmla="*/ 735013 h 6857999"/>
              <a:gd name="connsiteX217" fmla="*/ 1249744 w 9143999"/>
              <a:gd name="connsiteY217" fmla="*/ 735013 h 6857999"/>
              <a:gd name="connsiteX218" fmla="*/ 1225630 w 9143999"/>
              <a:gd name="connsiteY218" fmla="*/ 752595 h 6857999"/>
              <a:gd name="connsiteX219" fmla="*/ 1253924 w 9143999"/>
              <a:gd name="connsiteY219" fmla="*/ 785203 h 6857999"/>
              <a:gd name="connsiteX220" fmla="*/ 1240099 w 9143999"/>
              <a:gd name="connsiteY220" fmla="*/ 794633 h 6857999"/>
              <a:gd name="connsiteX221" fmla="*/ 1222415 w 9143999"/>
              <a:gd name="connsiteY221" fmla="*/ 789998 h 6857999"/>
              <a:gd name="connsiteX222" fmla="*/ 1220004 w 9143999"/>
              <a:gd name="connsiteY222" fmla="*/ 794154 h 6857999"/>
              <a:gd name="connsiteX223" fmla="*/ 1240742 w 9143999"/>
              <a:gd name="connsiteY223" fmla="*/ 804863 h 6857999"/>
              <a:gd name="connsiteX224" fmla="*/ 1267267 w 9143999"/>
              <a:gd name="connsiteY224" fmla="*/ 785203 h 6857999"/>
              <a:gd name="connsiteX225" fmla="*/ 1238652 w 9143999"/>
              <a:gd name="connsiteY225" fmla="*/ 753075 h 6857999"/>
              <a:gd name="connsiteX226" fmla="*/ 1251513 w 9143999"/>
              <a:gd name="connsiteY226" fmla="*/ 745243 h 6857999"/>
              <a:gd name="connsiteX227" fmla="*/ 1266463 w 9143999"/>
              <a:gd name="connsiteY227" fmla="*/ 749718 h 6857999"/>
              <a:gd name="connsiteX228" fmla="*/ 1269035 w 9143999"/>
              <a:gd name="connsiteY228" fmla="*/ 745882 h 6857999"/>
              <a:gd name="connsiteX229" fmla="*/ 1249744 w 9143999"/>
              <a:gd name="connsiteY229" fmla="*/ 735013 h 6857999"/>
              <a:gd name="connsiteX230" fmla="*/ 2296572 w 9143999"/>
              <a:gd name="connsiteY230" fmla="*/ 717551 h 6857999"/>
              <a:gd name="connsiteX231" fmla="*/ 2287720 w 9143999"/>
              <a:gd name="connsiteY231" fmla="*/ 736056 h 6857999"/>
              <a:gd name="connsiteX232" fmla="*/ 2287559 w 9143999"/>
              <a:gd name="connsiteY232" fmla="*/ 736373 h 6857999"/>
              <a:gd name="connsiteX233" fmla="*/ 2281926 w 9143999"/>
              <a:gd name="connsiteY233" fmla="*/ 736373 h 6857999"/>
              <a:gd name="connsiteX234" fmla="*/ 2278707 w 9143999"/>
              <a:gd name="connsiteY234" fmla="*/ 739378 h 6857999"/>
              <a:gd name="connsiteX235" fmla="*/ 2278224 w 9143999"/>
              <a:gd name="connsiteY235" fmla="*/ 743964 h 6857999"/>
              <a:gd name="connsiteX236" fmla="*/ 2280799 w 9143999"/>
              <a:gd name="connsiteY236" fmla="*/ 746653 h 6857999"/>
              <a:gd name="connsiteX237" fmla="*/ 2285305 w 9143999"/>
              <a:gd name="connsiteY237" fmla="*/ 746653 h 6857999"/>
              <a:gd name="connsiteX238" fmla="*/ 2280960 w 9143999"/>
              <a:gd name="connsiteY238" fmla="*/ 784771 h 6857999"/>
              <a:gd name="connsiteX239" fmla="*/ 2295123 w 9143999"/>
              <a:gd name="connsiteY239" fmla="*/ 803276 h 6857999"/>
              <a:gd name="connsiteX240" fmla="*/ 2309769 w 9143999"/>
              <a:gd name="connsiteY240" fmla="*/ 793944 h 6857999"/>
              <a:gd name="connsiteX241" fmla="*/ 2307999 w 9143999"/>
              <a:gd name="connsiteY241" fmla="*/ 790465 h 6857999"/>
              <a:gd name="connsiteX242" fmla="*/ 2299951 w 9143999"/>
              <a:gd name="connsiteY242" fmla="*/ 792363 h 6857999"/>
              <a:gd name="connsiteX243" fmla="*/ 2294479 w 9143999"/>
              <a:gd name="connsiteY243" fmla="*/ 783031 h 6857999"/>
              <a:gd name="connsiteX244" fmla="*/ 2298503 w 9143999"/>
              <a:gd name="connsiteY244" fmla="*/ 746653 h 6857999"/>
              <a:gd name="connsiteX245" fmla="*/ 2309125 w 9143999"/>
              <a:gd name="connsiteY245" fmla="*/ 746653 h 6857999"/>
              <a:gd name="connsiteX246" fmla="*/ 2312183 w 9143999"/>
              <a:gd name="connsiteY246" fmla="*/ 743964 h 6857999"/>
              <a:gd name="connsiteX247" fmla="*/ 2312666 w 9143999"/>
              <a:gd name="connsiteY247" fmla="*/ 739220 h 6857999"/>
              <a:gd name="connsiteX248" fmla="*/ 2310252 w 9143999"/>
              <a:gd name="connsiteY248" fmla="*/ 736373 h 6857999"/>
              <a:gd name="connsiteX249" fmla="*/ 2299629 w 9143999"/>
              <a:gd name="connsiteY249" fmla="*/ 736373 h 6857999"/>
              <a:gd name="connsiteX250" fmla="*/ 2301239 w 9143999"/>
              <a:gd name="connsiteY250" fmla="*/ 722138 h 6857999"/>
              <a:gd name="connsiteX251" fmla="*/ 2296572 w 9143999"/>
              <a:gd name="connsiteY251" fmla="*/ 717551 h 6857999"/>
              <a:gd name="connsiteX252" fmla="*/ 2034473 w 9143999"/>
              <a:gd name="connsiteY252" fmla="*/ 717551 h 6857999"/>
              <a:gd name="connsiteX253" fmla="*/ 2025782 w 9143999"/>
              <a:gd name="connsiteY253" fmla="*/ 735932 h 6857999"/>
              <a:gd name="connsiteX254" fmla="*/ 2025621 w 9143999"/>
              <a:gd name="connsiteY254" fmla="*/ 736407 h 6857999"/>
              <a:gd name="connsiteX255" fmla="*/ 2019988 w 9143999"/>
              <a:gd name="connsiteY255" fmla="*/ 736407 h 6857999"/>
              <a:gd name="connsiteX256" fmla="*/ 2016769 w 9143999"/>
              <a:gd name="connsiteY256" fmla="*/ 739260 h 6857999"/>
              <a:gd name="connsiteX257" fmla="*/ 2016286 w 9143999"/>
              <a:gd name="connsiteY257" fmla="*/ 743855 h 6857999"/>
              <a:gd name="connsiteX258" fmla="*/ 2018861 w 9143999"/>
              <a:gd name="connsiteY258" fmla="*/ 746707 h 6857999"/>
              <a:gd name="connsiteX259" fmla="*/ 2023367 w 9143999"/>
              <a:gd name="connsiteY259" fmla="*/ 746707 h 6857999"/>
              <a:gd name="connsiteX260" fmla="*/ 2018861 w 9143999"/>
              <a:gd name="connsiteY260" fmla="*/ 784737 h 6857999"/>
              <a:gd name="connsiteX261" fmla="*/ 2033185 w 9143999"/>
              <a:gd name="connsiteY261" fmla="*/ 803276 h 6857999"/>
              <a:gd name="connsiteX262" fmla="*/ 2047831 w 9143999"/>
              <a:gd name="connsiteY262" fmla="*/ 793927 h 6857999"/>
              <a:gd name="connsiteX263" fmla="*/ 2046061 w 9143999"/>
              <a:gd name="connsiteY263" fmla="*/ 790441 h 6857999"/>
              <a:gd name="connsiteX264" fmla="*/ 2038013 w 9143999"/>
              <a:gd name="connsiteY264" fmla="*/ 792501 h 6857999"/>
              <a:gd name="connsiteX265" fmla="*/ 2032541 w 9143999"/>
              <a:gd name="connsiteY265" fmla="*/ 783152 h 6857999"/>
              <a:gd name="connsiteX266" fmla="*/ 2036565 w 9143999"/>
              <a:gd name="connsiteY266" fmla="*/ 746707 h 6857999"/>
              <a:gd name="connsiteX267" fmla="*/ 2047026 w 9143999"/>
              <a:gd name="connsiteY267" fmla="*/ 746707 h 6857999"/>
              <a:gd name="connsiteX268" fmla="*/ 2050245 w 9143999"/>
              <a:gd name="connsiteY268" fmla="*/ 743855 h 6857999"/>
              <a:gd name="connsiteX269" fmla="*/ 2050728 w 9143999"/>
              <a:gd name="connsiteY269" fmla="*/ 739101 h 6857999"/>
              <a:gd name="connsiteX270" fmla="*/ 2048314 w 9143999"/>
              <a:gd name="connsiteY270" fmla="*/ 736407 h 6857999"/>
              <a:gd name="connsiteX271" fmla="*/ 2037692 w 9143999"/>
              <a:gd name="connsiteY271" fmla="*/ 736407 h 6857999"/>
              <a:gd name="connsiteX272" fmla="*/ 2039301 w 9143999"/>
              <a:gd name="connsiteY272" fmla="*/ 721988 h 6857999"/>
              <a:gd name="connsiteX273" fmla="*/ 2034473 w 9143999"/>
              <a:gd name="connsiteY273" fmla="*/ 717551 h 6857999"/>
              <a:gd name="connsiteX274" fmla="*/ 1851231 w 9143999"/>
              <a:gd name="connsiteY274" fmla="*/ 717551 h 6857999"/>
              <a:gd name="connsiteX275" fmla="*/ 1842934 w 9143999"/>
              <a:gd name="connsiteY275" fmla="*/ 735932 h 6857999"/>
              <a:gd name="connsiteX276" fmla="*/ 1842627 w 9143999"/>
              <a:gd name="connsiteY276" fmla="*/ 736407 h 6857999"/>
              <a:gd name="connsiteX277" fmla="*/ 1837250 w 9143999"/>
              <a:gd name="connsiteY277" fmla="*/ 736407 h 6857999"/>
              <a:gd name="connsiteX278" fmla="*/ 1834177 w 9143999"/>
              <a:gd name="connsiteY278" fmla="*/ 739260 h 6857999"/>
              <a:gd name="connsiteX279" fmla="*/ 1833717 w 9143999"/>
              <a:gd name="connsiteY279" fmla="*/ 743855 h 6857999"/>
              <a:gd name="connsiteX280" fmla="*/ 1836175 w 9143999"/>
              <a:gd name="connsiteY280" fmla="*/ 746707 h 6857999"/>
              <a:gd name="connsiteX281" fmla="*/ 1840476 w 9143999"/>
              <a:gd name="connsiteY281" fmla="*/ 746707 h 6857999"/>
              <a:gd name="connsiteX282" fmla="*/ 1836328 w 9143999"/>
              <a:gd name="connsiteY282" fmla="*/ 784737 h 6857999"/>
              <a:gd name="connsiteX283" fmla="*/ 1849848 w 9143999"/>
              <a:gd name="connsiteY283" fmla="*/ 803276 h 6857999"/>
              <a:gd name="connsiteX284" fmla="*/ 1863828 w 9143999"/>
              <a:gd name="connsiteY284" fmla="*/ 793927 h 6857999"/>
              <a:gd name="connsiteX285" fmla="*/ 1862138 w 9143999"/>
              <a:gd name="connsiteY285" fmla="*/ 790600 h 6857999"/>
              <a:gd name="connsiteX286" fmla="*/ 1854457 w 9143999"/>
              <a:gd name="connsiteY286" fmla="*/ 792501 h 6857999"/>
              <a:gd name="connsiteX287" fmla="*/ 1849233 w 9143999"/>
              <a:gd name="connsiteY287" fmla="*/ 783152 h 6857999"/>
              <a:gd name="connsiteX288" fmla="*/ 1853074 w 9143999"/>
              <a:gd name="connsiteY288" fmla="*/ 746707 h 6857999"/>
              <a:gd name="connsiteX289" fmla="*/ 1863214 w 9143999"/>
              <a:gd name="connsiteY289" fmla="*/ 746707 h 6857999"/>
              <a:gd name="connsiteX290" fmla="*/ 1866133 w 9143999"/>
              <a:gd name="connsiteY290" fmla="*/ 743855 h 6857999"/>
              <a:gd name="connsiteX291" fmla="*/ 1866747 w 9143999"/>
              <a:gd name="connsiteY291" fmla="*/ 739101 h 6857999"/>
              <a:gd name="connsiteX292" fmla="*/ 1864289 w 9143999"/>
              <a:gd name="connsiteY292" fmla="*/ 736407 h 6857999"/>
              <a:gd name="connsiteX293" fmla="*/ 1854150 w 9143999"/>
              <a:gd name="connsiteY293" fmla="*/ 736407 h 6857999"/>
              <a:gd name="connsiteX294" fmla="*/ 1855686 w 9143999"/>
              <a:gd name="connsiteY294" fmla="*/ 721988 h 6857999"/>
              <a:gd name="connsiteX295" fmla="*/ 1851231 w 9143999"/>
              <a:gd name="connsiteY295" fmla="*/ 717551 h 6857999"/>
              <a:gd name="connsiteX296" fmla="*/ 1521635 w 9143999"/>
              <a:gd name="connsiteY296" fmla="*/ 708026 h 6857999"/>
              <a:gd name="connsiteX297" fmla="*/ 1513050 w 9143999"/>
              <a:gd name="connsiteY297" fmla="*/ 716864 h 6857999"/>
              <a:gd name="connsiteX298" fmla="*/ 1519853 w 9143999"/>
              <a:gd name="connsiteY298" fmla="*/ 723901 h 6857999"/>
              <a:gd name="connsiteX299" fmla="*/ 1528601 w 9143999"/>
              <a:gd name="connsiteY299" fmla="*/ 714900 h 6857999"/>
              <a:gd name="connsiteX300" fmla="*/ 1521635 w 9143999"/>
              <a:gd name="connsiteY300" fmla="*/ 708026 h 6857999"/>
              <a:gd name="connsiteX301" fmla="*/ 2191578 w 9143999"/>
              <a:gd name="connsiteY301" fmla="*/ 704851 h 6857999"/>
              <a:gd name="connsiteX302" fmla="*/ 2171467 w 9143999"/>
              <a:gd name="connsiteY302" fmla="*/ 724936 h 6857999"/>
              <a:gd name="connsiteX303" fmla="*/ 2170358 w 9143999"/>
              <a:gd name="connsiteY303" fmla="*/ 736165 h 6857999"/>
              <a:gd name="connsiteX304" fmla="*/ 2164974 w 9143999"/>
              <a:gd name="connsiteY304" fmla="*/ 736165 h 6857999"/>
              <a:gd name="connsiteX305" fmla="*/ 2161807 w 9143999"/>
              <a:gd name="connsiteY305" fmla="*/ 739170 h 6857999"/>
              <a:gd name="connsiteX306" fmla="*/ 2161332 w 9143999"/>
              <a:gd name="connsiteY306" fmla="*/ 743756 h 6857999"/>
              <a:gd name="connsiteX307" fmla="*/ 2163867 w 9143999"/>
              <a:gd name="connsiteY307" fmla="*/ 746603 h 6857999"/>
              <a:gd name="connsiteX308" fmla="*/ 2169250 w 9143999"/>
              <a:gd name="connsiteY308" fmla="*/ 746603 h 6857999"/>
              <a:gd name="connsiteX309" fmla="*/ 2162441 w 9143999"/>
              <a:gd name="connsiteY309" fmla="*/ 808281 h 6857999"/>
              <a:gd name="connsiteX310" fmla="*/ 2152464 w 9143999"/>
              <a:gd name="connsiteY310" fmla="*/ 819352 h 6857999"/>
              <a:gd name="connsiteX311" fmla="*/ 2144547 w 9143999"/>
              <a:gd name="connsiteY311" fmla="*/ 817454 h 6857999"/>
              <a:gd name="connsiteX312" fmla="*/ 2142171 w 9143999"/>
              <a:gd name="connsiteY312" fmla="*/ 820775 h 6857999"/>
              <a:gd name="connsiteX313" fmla="*/ 2154523 w 9143999"/>
              <a:gd name="connsiteY313" fmla="*/ 830264 h 6857999"/>
              <a:gd name="connsiteX314" fmla="*/ 2175109 w 9143999"/>
              <a:gd name="connsiteY314" fmla="*/ 810021 h 6857999"/>
              <a:gd name="connsiteX315" fmla="*/ 2181918 w 9143999"/>
              <a:gd name="connsiteY315" fmla="*/ 746603 h 6857999"/>
              <a:gd name="connsiteX316" fmla="*/ 2191737 w 9143999"/>
              <a:gd name="connsiteY316" fmla="*/ 746603 h 6857999"/>
              <a:gd name="connsiteX317" fmla="*/ 2194904 w 9143999"/>
              <a:gd name="connsiteY317" fmla="*/ 743756 h 6857999"/>
              <a:gd name="connsiteX318" fmla="*/ 2195538 w 9143999"/>
              <a:gd name="connsiteY318" fmla="*/ 739011 h 6857999"/>
              <a:gd name="connsiteX319" fmla="*/ 2192845 w 9143999"/>
              <a:gd name="connsiteY319" fmla="*/ 736165 h 6857999"/>
              <a:gd name="connsiteX320" fmla="*/ 2183027 w 9143999"/>
              <a:gd name="connsiteY320" fmla="*/ 736165 h 6857999"/>
              <a:gd name="connsiteX321" fmla="*/ 2184135 w 9143999"/>
              <a:gd name="connsiteY321" fmla="*/ 726834 h 6857999"/>
              <a:gd name="connsiteX322" fmla="*/ 2193954 w 9143999"/>
              <a:gd name="connsiteY322" fmla="*/ 715605 h 6857999"/>
              <a:gd name="connsiteX323" fmla="*/ 2202029 w 9143999"/>
              <a:gd name="connsiteY323" fmla="*/ 717503 h 6857999"/>
              <a:gd name="connsiteX324" fmla="*/ 2204564 w 9143999"/>
              <a:gd name="connsiteY324" fmla="*/ 714340 h 6857999"/>
              <a:gd name="connsiteX325" fmla="*/ 2191578 w 9143999"/>
              <a:gd name="connsiteY325" fmla="*/ 704851 h 6857999"/>
              <a:gd name="connsiteX326" fmla="*/ 1298258 w 9143999"/>
              <a:gd name="connsiteY326" fmla="*/ 704851 h 6857999"/>
              <a:gd name="connsiteX327" fmla="*/ 1294448 w 9143999"/>
              <a:gd name="connsiteY327" fmla="*/ 708526 h 6857999"/>
              <a:gd name="connsiteX328" fmla="*/ 1284447 w 9143999"/>
              <a:gd name="connsiteY328" fmla="*/ 799761 h 6857999"/>
              <a:gd name="connsiteX329" fmla="*/ 1287622 w 9143999"/>
              <a:gd name="connsiteY329" fmla="*/ 803276 h 6857999"/>
              <a:gd name="connsiteX330" fmla="*/ 1293654 w 9143999"/>
              <a:gd name="connsiteY330" fmla="*/ 803276 h 6857999"/>
              <a:gd name="connsiteX331" fmla="*/ 1297464 w 9143999"/>
              <a:gd name="connsiteY331" fmla="*/ 799761 h 6857999"/>
              <a:gd name="connsiteX332" fmla="*/ 1302386 w 9143999"/>
              <a:gd name="connsiteY332" fmla="*/ 755502 h 6857999"/>
              <a:gd name="connsiteX333" fmla="*/ 1316038 w 9143999"/>
              <a:gd name="connsiteY333" fmla="*/ 746074 h 6857999"/>
              <a:gd name="connsiteX334" fmla="*/ 1325246 w 9143999"/>
              <a:gd name="connsiteY334" fmla="*/ 761413 h 6857999"/>
              <a:gd name="connsiteX335" fmla="*/ 1321118 w 9143999"/>
              <a:gd name="connsiteY335" fmla="*/ 799761 h 6857999"/>
              <a:gd name="connsiteX336" fmla="*/ 1324293 w 9143999"/>
              <a:gd name="connsiteY336" fmla="*/ 803276 h 6857999"/>
              <a:gd name="connsiteX337" fmla="*/ 1330326 w 9143999"/>
              <a:gd name="connsiteY337" fmla="*/ 803276 h 6857999"/>
              <a:gd name="connsiteX338" fmla="*/ 1334136 w 9143999"/>
              <a:gd name="connsiteY338" fmla="*/ 799761 h 6857999"/>
              <a:gd name="connsiteX339" fmla="*/ 1338263 w 9143999"/>
              <a:gd name="connsiteY339" fmla="*/ 762532 h 6857999"/>
              <a:gd name="connsiteX340" fmla="*/ 1321436 w 9143999"/>
              <a:gd name="connsiteY340" fmla="*/ 735209 h 6857999"/>
              <a:gd name="connsiteX341" fmla="*/ 1303656 w 9143999"/>
              <a:gd name="connsiteY341" fmla="*/ 743039 h 6857999"/>
              <a:gd name="connsiteX342" fmla="*/ 1307466 w 9143999"/>
              <a:gd name="connsiteY342" fmla="*/ 708526 h 6857999"/>
              <a:gd name="connsiteX343" fmla="*/ 1304132 w 9143999"/>
              <a:gd name="connsiteY343" fmla="*/ 704851 h 6857999"/>
              <a:gd name="connsiteX344" fmla="*/ 1298258 w 9143999"/>
              <a:gd name="connsiteY344" fmla="*/ 704851 h 6857999"/>
              <a:gd name="connsiteX345" fmla="*/ 756802 w 9143999"/>
              <a:gd name="connsiteY345" fmla="*/ 617133 h 6857999"/>
              <a:gd name="connsiteX346" fmla="*/ 710564 w 9143999"/>
              <a:gd name="connsiteY346" fmla="*/ 623866 h 6857999"/>
              <a:gd name="connsiteX347" fmla="*/ 790209 w 9143999"/>
              <a:gd name="connsiteY347" fmla="*/ 790011 h 6857999"/>
              <a:gd name="connsiteX348" fmla="*/ 970757 w 9143999"/>
              <a:gd name="connsiteY348" fmla="*/ 826950 h 6857999"/>
              <a:gd name="connsiteX349" fmla="*/ 891113 w 9143999"/>
              <a:gd name="connsiteY349" fmla="*/ 660963 h 6857999"/>
              <a:gd name="connsiteX350" fmla="*/ 756802 w 9143999"/>
              <a:gd name="connsiteY350" fmla="*/ 617133 h 6857999"/>
              <a:gd name="connsiteX351" fmla="*/ 2413082 w 9143999"/>
              <a:gd name="connsiteY351" fmla="*/ 515938 h 6857999"/>
              <a:gd name="connsiteX352" fmla="*/ 2439988 w 9143999"/>
              <a:gd name="connsiteY352" fmla="*/ 565787 h 6857999"/>
              <a:gd name="connsiteX353" fmla="*/ 2413082 w 9143999"/>
              <a:gd name="connsiteY353" fmla="*/ 615951 h 6857999"/>
              <a:gd name="connsiteX354" fmla="*/ 2386013 w 9143999"/>
              <a:gd name="connsiteY354" fmla="*/ 565787 h 6857999"/>
              <a:gd name="connsiteX355" fmla="*/ 2413082 w 9143999"/>
              <a:gd name="connsiteY355" fmla="*/ 515938 h 6857999"/>
              <a:gd name="connsiteX356" fmla="*/ 2260681 w 9143999"/>
              <a:gd name="connsiteY356" fmla="*/ 515938 h 6857999"/>
              <a:gd name="connsiteX357" fmla="*/ 2287589 w 9143999"/>
              <a:gd name="connsiteY357" fmla="*/ 565787 h 6857999"/>
              <a:gd name="connsiteX358" fmla="*/ 2260681 w 9143999"/>
              <a:gd name="connsiteY358" fmla="*/ 615951 h 6857999"/>
              <a:gd name="connsiteX359" fmla="*/ 2233613 w 9143999"/>
              <a:gd name="connsiteY359" fmla="*/ 565787 h 6857999"/>
              <a:gd name="connsiteX360" fmla="*/ 2260681 w 9143999"/>
              <a:gd name="connsiteY360" fmla="*/ 515938 h 6857999"/>
              <a:gd name="connsiteX361" fmla="*/ 1744183 w 9143999"/>
              <a:gd name="connsiteY361" fmla="*/ 515938 h 6857999"/>
              <a:gd name="connsiteX362" fmla="*/ 1759072 w 9143999"/>
              <a:gd name="connsiteY362" fmla="*/ 521941 h 6857999"/>
              <a:gd name="connsiteX363" fmla="*/ 1768319 w 9143999"/>
              <a:gd name="connsiteY363" fmla="*/ 564756 h 6857999"/>
              <a:gd name="connsiteX364" fmla="*/ 1768476 w 9143999"/>
              <a:gd name="connsiteY364" fmla="*/ 569495 h 6857999"/>
              <a:gd name="connsiteX365" fmla="*/ 1743869 w 9143999"/>
              <a:gd name="connsiteY365" fmla="*/ 614363 h 6857999"/>
              <a:gd name="connsiteX366" fmla="*/ 1730391 w 9143999"/>
              <a:gd name="connsiteY366" fmla="*/ 608518 h 6857999"/>
              <a:gd name="connsiteX367" fmla="*/ 1719263 w 9143999"/>
              <a:gd name="connsiteY367" fmla="*/ 564756 h 6857999"/>
              <a:gd name="connsiteX368" fmla="*/ 1744183 w 9143999"/>
              <a:gd name="connsiteY368" fmla="*/ 515938 h 6857999"/>
              <a:gd name="connsiteX369" fmla="*/ 1429235 w 9143999"/>
              <a:gd name="connsiteY369" fmla="*/ 515938 h 6857999"/>
              <a:gd name="connsiteX370" fmla="*/ 1444605 w 9143999"/>
              <a:gd name="connsiteY370" fmla="*/ 521941 h 6857999"/>
              <a:gd name="connsiteX371" fmla="*/ 1454150 w 9143999"/>
              <a:gd name="connsiteY371" fmla="*/ 564756 h 6857999"/>
              <a:gd name="connsiteX372" fmla="*/ 1454150 w 9143999"/>
              <a:gd name="connsiteY372" fmla="*/ 569495 h 6857999"/>
              <a:gd name="connsiteX373" fmla="*/ 1428912 w 9143999"/>
              <a:gd name="connsiteY373" fmla="*/ 614363 h 6857999"/>
              <a:gd name="connsiteX374" fmla="*/ 1414998 w 9143999"/>
              <a:gd name="connsiteY374" fmla="*/ 608518 h 6857999"/>
              <a:gd name="connsiteX375" fmla="*/ 1403512 w 9143999"/>
              <a:gd name="connsiteY375" fmla="*/ 564756 h 6857999"/>
              <a:gd name="connsiteX376" fmla="*/ 1429235 w 9143999"/>
              <a:gd name="connsiteY376" fmla="*/ 515938 h 6857999"/>
              <a:gd name="connsiteX377" fmla="*/ 2966948 w 9143999"/>
              <a:gd name="connsiteY377" fmla="*/ 511176 h 6857999"/>
              <a:gd name="connsiteX378" fmla="*/ 2982454 w 9143999"/>
              <a:gd name="connsiteY378" fmla="*/ 516853 h 6857999"/>
              <a:gd name="connsiteX379" fmla="*/ 2987517 w 9143999"/>
              <a:gd name="connsiteY379" fmla="*/ 534989 h 6857999"/>
              <a:gd name="connsiteX380" fmla="*/ 2962834 w 9143999"/>
              <a:gd name="connsiteY380" fmla="*/ 558486 h 6857999"/>
              <a:gd name="connsiteX381" fmla="*/ 2940050 w 9143999"/>
              <a:gd name="connsiteY381" fmla="*/ 557697 h 6857999"/>
              <a:gd name="connsiteX382" fmla="*/ 2966948 w 9143999"/>
              <a:gd name="connsiteY382" fmla="*/ 511176 h 6857999"/>
              <a:gd name="connsiteX383" fmla="*/ 2754223 w 9143999"/>
              <a:gd name="connsiteY383" fmla="*/ 511176 h 6857999"/>
              <a:gd name="connsiteX384" fmla="*/ 2769887 w 9143999"/>
              <a:gd name="connsiteY384" fmla="*/ 516853 h 6857999"/>
              <a:gd name="connsiteX385" fmla="*/ 2774792 w 9143999"/>
              <a:gd name="connsiteY385" fmla="*/ 534989 h 6857999"/>
              <a:gd name="connsiteX386" fmla="*/ 2750267 w 9143999"/>
              <a:gd name="connsiteY386" fmla="*/ 558486 h 6857999"/>
              <a:gd name="connsiteX387" fmla="*/ 2727325 w 9143999"/>
              <a:gd name="connsiteY387" fmla="*/ 557697 h 6857999"/>
              <a:gd name="connsiteX388" fmla="*/ 2754223 w 9143999"/>
              <a:gd name="connsiteY388" fmla="*/ 511176 h 6857999"/>
              <a:gd name="connsiteX389" fmla="*/ 1900148 w 9143999"/>
              <a:gd name="connsiteY389" fmla="*/ 511176 h 6857999"/>
              <a:gd name="connsiteX390" fmla="*/ 1915812 w 9143999"/>
              <a:gd name="connsiteY390" fmla="*/ 516853 h 6857999"/>
              <a:gd name="connsiteX391" fmla="*/ 1920717 w 9143999"/>
              <a:gd name="connsiteY391" fmla="*/ 534989 h 6857999"/>
              <a:gd name="connsiteX392" fmla="*/ 1896192 w 9143999"/>
              <a:gd name="connsiteY392" fmla="*/ 558486 h 6857999"/>
              <a:gd name="connsiteX393" fmla="*/ 1873250 w 9143999"/>
              <a:gd name="connsiteY393" fmla="*/ 557697 h 6857999"/>
              <a:gd name="connsiteX394" fmla="*/ 1900148 w 9143999"/>
              <a:gd name="connsiteY394" fmla="*/ 511176 h 6857999"/>
              <a:gd name="connsiteX395" fmla="*/ 2050803 w 9143999"/>
              <a:gd name="connsiteY395" fmla="*/ 485776 h 6857999"/>
              <a:gd name="connsiteX396" fmla="*/ 2016407 w 9143999"/>
              <a:gd name="connsiteY396" fmla="*/ 502412 h 6857999"/>
              <a:gd name="connsiteX397" fmla="*/ 2016407 w 9143999"/>
              <a:gd name="connsiteY397" fmla="*/ 501937 h 6857999"/>
              <a:gd name="connsiteX398" fmla="*/ 1999368 w 9143999"/>
              <a:gd name="connsiteY398" fmla="*/ 486093 h 6857999"/>
              <a:gd name="connsiteX399" fmla="*/ 1976438 w 9143999"/>
              <a:gd name="connsiteY399" fmla="*/ 489895 h 6857999"/>
              <a:gd name="connsiteX400" fmla="*/ 1979463 w 9143999"/>
              <a:gd name="connsiteY400" fmla="*/ 507323 h 6857999"/>
              <a:gd name="connsiteX401" fmla="*/ 1979304 w 9143999"/>
              <a:gd name="connsiteY401" fmla="*/ 629953 h 6857999"/>
              <a:gd name="connsiteX402" fmla="*/ 1996502 w 9143999"/>
              <a:gd name="connsiteY402" fmla="*/ 645797 h 6857999"/>
              <a:gd name="connsiteX403" fmla="*/ 2017363 w 9143999"/>
              <a:gd name="connsiteY403" fmla="*/ 641519 h 6857999"/>
              <a:gd name="connsiteX404" fmla="*/ 2017363 w 9143999"/>
              <a:gd name="connsiteY404" fmla="*/ 537743 h 6857999"/>
              <a:gd name="connsiteX405" fmla="*/ 2036790 w 9143999"/>
              <a:gd name="connsiteY405" fmla="*/ 518256 h 6857999"/>
              <a:gd name="connsiteX406" fmla="*/ 2047777 w 9143999"/>
              <a:gd name="connsiteY406" fmla="*/ 522850 h 6857999"/>
              <a:gd name="connsiteX407" fmla="*/ 2053988 w 9143999"/>
              <a:gd name="connsiteY407" fmla="*/ 545507 h 6857999"/>
              <a:gd name="connsiteX408" fmla="*/ 2053988 w 9143999"/>
              <a:gd name="connsiteY408" fmla="*/ 629953 h 6857999"/>
              <a:gd name="connsiteX409" fmla="*/ 2071345 w 9143999"/>
              <a:gd name="connsiteY409" fmla="*/ 645797 h 6857999"/>
              <a:gd name="connsiteX410" fmla="*/ 2092365 w 9143999"/>
              <a:gd name="connsiteY410" fmla="*/ 641519 h 6857999"/>
              <a:gd name="connsiteX411" fmla="*/ 2092365 w 9143999"/>
              <a:gd name="connsiteY411" fmla="*/ 537743 h 6857999"/>
              <a:gd name="connsiteX412" fmla="*/ 2111793 w 9143999"/>
              <a:gd name="connsiteY412" fmla="*/ 518256 h 6857999"/>
              <a:gd name="connsiteX413" fmla="*/ 2122779 w 9143999"/>
              <a:gd name="connsiteY413" fmla="*/ 522850 h 6857999"/>
              <a:gd name="connsiteX414" fmla="*/ 2128832 w 9143999"/>
              <a:gd name="connsiteY414" fmla="*/ 545507 h 6857999"/>
              <a:gd name="connsiteX415" fmla="*/ 2128832 w 9143999"/>
              <a:gd name="connsiteY415" fmla="*/ 609357 h 6857999"/>
              <a:gd name="connsiteX416" fmla="*/ 2135838 w 9143999"/>
              <a:gd name="connsiteY416" fmla="*/ 637717 h 6857999"/>
              <a:gd name="connsiteX417" fmla="*/ 2156539 w 9143999"/>
              <a:gd name="connsiteY417" fmla="*/ 646114 h 6857999"/>
              <a:gd name="connsiteX418" fmla="*/ 2182813 w 9143999"/>
              <a:gd name="connsiteY418" fmla="*/ 626943 h 6857999"/>
              <a:gd name="connsiteX419" fmla="*/ 2181062 w 9143999"/>
              <a:gd name="connsiteY419" fmla="*/ 618546 h 6857999"/>
              <a:gd name="connsiteX420" fmla="*/ 2175807 w 9143999"/>
              <a:gd name="connsiteY420" fmla="*/ 618546 h 6857999"/>
              <a:gd name="connsiteX421" fmla="*/ 2169119 w 9143999"/>
              <a:gd name="connsiteY421" fmla="*/ 616962 h 6857999"/>
              <a:gd name="connsiteX422" fmla="*/ 2166730 w 9143999"/>
              <a:gd name="connsiteY422" fmla="*/ 605079 h 6857999"/>
              <a:gd name="connsiteX423" fmla="*/ 2166730 w 9143999"/>
              <a:gd name="connsiteY423" fmla="*/ 548675 h 6857999"/>
              <a:gd name="connsiteX424" fmla="*/ 2120550 w 9143999"/>
              <a:gd name="connsiteY424" fmla="*/ 485776 h 6857999"/>
              <a:gd name="connsiteX425" fmla="*/ 2082651 w 9143999"/>
              <a:gd name="connsiteY425" fmla="*/ 502570 h 6857999"/>
              <a:gd name="connsiteX426" fmla="*/ 2050803 w 9143999"/>
              <a:gd name="connsiteY426" fmla="*/ 485776 h 6857999"/>
              <a:gd name="connsiteX427" fmla="*/ 2564195 w 9143999"/>
              <a:gd name="connsiteY427" fmla="*/ 484188 h 6857999"/>
              <a:gd name="connsiteX428" fmla="*/ 2538233 w 9143999"/>
              <a:gd name="connsiteY428" fmla="*/ 497180 h 6857999"/>
              <a:gd name="connsiteX429" fmla="*/ 2522341 w 9143999"/>
              <a:gd name="connsiteY429" fmla="*/ 486406 h 6857999"/>
              <a:gd name="connsiteX430" fmla="*/ 2500313 w 9143999"/>
              <a:gd name="connsiteY430" fmla="*/ 490209 h 6857999"/>
              <a:gd name="connsiteX431" fmla="*/ 2503303 w 9143999"/>
              <a:gd name="connsiteY431" fmla="*/ 510489 h 6857999"/>
              <a:gd name="connsiteX432" fmla="*/ 2503303 w 9143999"/>
              <a:gd name="connsiteY432" fmla="*/ 630269 h 6857999"/>
              <a:gd name="connsiteX433" fmla="*/ 2520296 w 9143999"/>
              <a:gd name="connsiteY433" fmla="*/ 646113 h 6857999"/>
              <a:gd name="connsiteX434" fmla="*/ 2540908 w 9143999"/>
              <a:gd name="connsiteY434" fmla="*/ 641994 h 6857999"/>
              <a:gd name="connsiteX435" fmla="*/ 2540908 w 9143999"/>
              <a:gd name="connsiteY435" fmla="*/ 549465 h 6857999"/>
              <a:gd name="connsiteX436" fmla="*/ 2566083 w 9143999"/>
              <a:gd name="connsiteY436" fmla="*/ 519995 h 6857999"/>
              <a:gd name="connsiteX437" fmla="*/ 2576783 w 9143999"/>
              <a:gd name="connsiteY437" fmla="*/ 522530 h 6857999"/>
              <a:gd name="connsiteX438" fmla="*/ 2582919 w 9143999"/>
              <a:gd name="connsiteY438" fmla="*/ 525224 h 6857999"/>
              <a:gd name="connsiteX439" fmla="*/ 2589213 w 9143999"/>
              <a:gd name="connsiteY439" fmla="*/ 507795 h 6857999"/>
              <a:gd name="connsiteX440" fmla="*/ 2564195 w 9143999"/>
              <a:gd name="connsiteY440" fmla="*/ 484188 h 6857999"/>
              <a:gd name="connsiteX441" fmla="*/ 2412207 w 9143999"/>
              <a:gd name="connsiteY441" fmla="*/ 484188 h 6857999"/>
              <a:gd name="connsiteX442" fmla="*/ 2346325 w 9143999"/>
              <a:gd name="connsiteY442" fmla="*/ 565945 h 6857999"/>
              <a:gd name="connsiteX443" fmla="*/ 2412207 w 9143999"/>
              <a:gd name="connsiteY443" fmla="*/ 647702 h 6857999"/>
              <a:gd name="connsiteX444" fmla="*/ 2478089 w 9143999"/>
              <a:gd name="connsiteY444" fmla="*/ 565945 h 6857999"/>
              <a:gd name="connsiteX445" fmla="*/ 2412207 w 9143999"/>
              <a:gd name="connsiteY445" fmla="*/ 484188 h 6857999"/>
              <a:gd name="connsiteX446" fmla="*/ 2261395 w 9143999"/>
              <a:gd name="connsiteY446" fmla="*/ 484188 h 6857999"/>
              <a:gd name="connsiteX447" fmla="*/ 2195514 w 9143999"/>
              <a:gd name="connsiteY447" fmla="*/ 565945 h 6857999"/>
              <a:gd name="connsiteX448" fmla="*/ 2261395 w 9143999"/>
              <a:gd name="connsiteY448" fmla="*/ 647702 h 6857999"/>
              <a:gd name="connsiteX449" fmla="*/ 2327278 w 9143999"/>
              <a:gd name="connsiteY449" fmla="*/ 565945 h 6857999"/>
              <a:gd name="connsiteX450" fmla="*/ 2261395 w 9143999"/>
              <a:gd name="connsiteY450" fmla="*/ 484188 h 6857999"/>
              <a:gd name="connsiteX451" fmla="*/ 1604487 w 9143999"/>
              <a:gd name="connsiteY451" fmla="*/ 484188 h 6857999"/>
              <a:gd name="connsiteX452" fmla="*/ 1568450 w 9143999"/>
              <a:gd name="connsiteY452" fmla="*/ 500682 h 6857999"/>
              <a:gd name="connsiteX453" fmla="*/ 1551623 w 9143999"/>
              <a:gd name="connsiteY453" fmla="*/ 485933 h 6857999"/>
              <a:gd name="connsiteX454" fmla="*/ 1528763 w 9143999"/>
              <a:gd name="connsiteY454" fmla="*/ 489739 h 6857999"/>
              <a:gd name="connsiteX455" fmla="*/ 1531779 w 9143999"/>
              <a:gd name="connsiteY455" fmla="*/ 510039 h 6857999"/>
              <a:gd name="connsiteX456" fmla="*/ 1531779 w 9143999"/>
              <a:gd name="connsiteY456" fmla="*/ 524788 h 6857999"/>
              <a:gd name="connsiteX457" fmla="*/ 1531779 w 9143999"/>
              <a:gd name="connsiteY457" fmla="*/ 629778 h 6857999"/>
              <a:gd name="connsiteX458" fmla="*/ 1548924 w 9143999"/>
              <a:gd name="connsiteY458" fmla="*/ 645637 h 6857999"/>
              <a:gd name="connsiteX459" fmla="*/ 1569562 w 9143999"/>
              <a:gd name="connsiteY459" fmla="*/ 641514 h 6857999"/>
              <a:gd name="connsiteX460" fmla="*/ 1569562 w 9143999"/>
              <a:gd name="connsiteY460" fmla="*/ 612808 h 6857999"/>
              <a:gd name="connsiteX461" fmla="*/ 1569562 w 9143999"/>
              <a:gd name="connsiteY461" fmla="*/ 536366 h 6857999"/>
              <a:gd name="connsiteX462" fmla="*/ 1592104 w 9143999"/>
              <a:gd name="connsiteY462" fmla="*/ 516858 h 6857999"/>
              <a:gd name="connsiteX463" fmla="*/ 1611313 w 9143999"/>
              <a:gd name="connsiteY463" fmla="*/ 544454 h 6857999"/>
              <a:gd name="connsiteX464" fmla="*/ 1611472 w 9143999"/>
              <a:gd name="connsiteY464" fmla="*/ 609319 h 6857999"/>
              <a:gd name="connsiteX465" fmla="*/ 1618298 w 9143999"/>
              <a:gd name="connsiteY465" fmla="*/ 637708 h 6857999"/>
              <a:gd name="connsiteX466" fmla="*/ 1639094 w 9143999"/>
              <a:gd name="connsiteY466" fmla="*/ 646113 h 6857999"/>
              <a:gd name="connsiteX467" fmla="*/ 1665288 w 9143999"/>
              <a:gd name="connsiteY467" fmla="*/ 626923 h 6857999"/>
              <a:gd name="connsiteX468" fmla="*/ 1663542 w 9143999"/>
              <a:gd name="connsiteY468" fmla="*/ 618518 h 6857999"/>
              <a:gd name="connsiteX469" fmla="*/ 1658303 w 9143999"/>
              <a:gd name="connsiteY469" fmla="*/ 618518 h 6857999"/>
              <a:gd name="connsiteX470" fmla="*/ 1651477 w 9143999"/>
              <a:gd name="connsiteY470" fmla="*/ 616932 h 6857999"/>
              <a:gd name="connsiteX471" fmla="*/ 1649095 w 9143999"/>
              <a:gd name="connsiteY471" fmla="*/ 605037 h 6857999"/>
              <a:gd name="connsiteX472" fmla="*/ 1649095 w 9143999"/>
              <a:gd name="connsiteY472" fmla="*/ 552701 h 6857999"/>
              <a:gd name="connsiteX473" fmla="*/ 1604487 w 9143999"/>
              <a:gd name="connsiteY473" fmla="*/ 484188 h 6857999"/>
              <a:gd name="connsiteX474" fmla="*/ 1423198 w 9143999"/>
              <a:gd name="connsiteY474" fmla="*/ 484188 h 6857999"/>
              <a:gd name="connsiteX475" fmla="*/ 1385524 w 9143999"/>
              <a:gd name="connsiteY475" fmla="*/ 499324 h 6857999"/>
              <a:gd name="connsiteX476" fmla="*/ 1365410 w 9143999"/>
              <a:gd name="connsiteY476" fmla="*/ 561445 h 6857999"/>
              <a:gd name="connsiteX477" fmla="*/ 1385844 w 9143999"/>
              <a:gd name="connsiteY477" fmla="*/ 632238 h 6857999"/>
              <a:gd name="connsiteX478" fmla="*/ 1418888 w 9143999"/>
              <a:gd name="connsiteY478" fmla="*/ 646113 h 6857999"/>
              <a:gd name="connsiteX479" fmla="*/ 1455924 w 9143999"/>
              <a:gd name="connsiteY479" fmla="*/ 626720 h 6857999"/>
              <a:gd name="connsiteX480" fmla="*/ 1461511 w 9143999"/>
              <a:gd name="connsiteY480" fmla="*/ 637284 h 6857999"/>
              <a:gd name="connsiteX481" fmla="*/ 1481785 w 9143999"/>
              <a:gd name="connsiteY481" fmla="*/ 645798 h 6857999"/>
              <a:gd name="connsiteX482" fmla="*/ 1508125 w 9143999"/>
              <a:gd name="connsiteY482" fmla="*/ 626720 h 6857999"/>
              <a:gd name="connsiteX483" fmla="*/ 1506209 w 9143999"/>
              <a:gd name="connsiteY483" fmla="*/ 618363 h 6857999"/>
              <a:gd name="connsiteX484" fmla="*/ 1501101 w 9143999"/>
              <a:gd name="connsiteY484" fmla="*/ 618363 h 6857999"/>
              <a:gd name="connsiteX485" fmla="*/ 1494238 w 9143999"/>
              <a:gd name="connsiteY485" fmla="*/ 616787 h 6857999"/>
              <a:gd name="connsiteX486" fmla="*/ 1491842 w 9143999"/>
              <a:gd name="connsiteY486" fmla="*/ 604962 h 6857999"/>
              <a:gd name="connsiteX487" fmla="*/ 1492002 w 9143999"/>
              <a:gd name="connsiteY487" fmla="*/ 487657 h 6857999"/>
              <a:gd name="connsiteX488" fmla="*/ 1472366 w 9143999"/>
              <a:gd name="connsiteY488" fmla="*/ 487657 h 6857999"/>
              <a:gd name="connsiteX489" fmla="*/ 1456404 w 9143999"/>
              <a:gd name="connsiteY489" fmla="*/ 501374 h 6857999"/>
              <a:gd name="connsiteX490" fmla="*/ 1423198 w 9143999"/>
              <a:gd name="connsiteY490" fmla="*/ 484188 h 6857999"/>
              <a:gd name="connsiteX491" fmla="*/ 2964431 w 9143999"/>
              <a:gd name="connsiteY491" fmla="*/ 482601 h 6857999"/>
              <a:gd name="connsiteX492" fmla="*/ 2902431 w 9143999"/>
              <a:gd name="connsiteY492" fmla="*/ 560596 h 6857999"/>
              <a:gd name="connsiteX493" fmla="*/ 2922296 w 9143999"/>
              <a:gd name="connsiteY493" fmla="*/ 628842 h 6857999"/>
              <a:gd name="connsiteX494" fmla="*/ 2970839 w 9143999"/>
              <a:gd name="connsiteY494" fmla="*/ 647701 h 6857999"/>
              <a:gd name="connsiteX495" fmla="*/ 3012333 w 9143999"/>
              <a:gd name="connsiteY495" fmla="*/ 636194 h 6857999"/>
              <a:gd name="connsiteX496" fmla="*/ 3020023 w 9143999"/>
              <a:gd name="connsiteY496" fmla="*/ 617973 h 6857999"/>
              <a:gd name="connsiteX497" fmla="*/ 3014576 w 9143999"/>
              <a:gd name="connsiteY497" fmla="*/ 606306 h 6857999"/>
              <a:gd name="connsiteX498" fmla="*/ 3005444 w 9143999"/>
              <a:gd name="connsiteY498" fmla="*/ 609982 h 6857999"/>
              <a:gd name="connsiteX499" fmla="*/ 2974364 w 9143999"/>
              <a:gd name="connsiteY499" fmla="*/ 615736 h 6857999"/>
              <a:gd name="connsiteX500" fmla="*/ 2940560 w 9143999"/>
              <a:gd name="connsiteY500" fmla="*/ 582492 h 6857999"/>
              <a:gd name="connsiteX501" fmla="*/ 2965552 w 9143999"/>
              <a:gd name="connsiteY501" fmla="*/ 583931 h 6857999"/>
              <a:gd name="connsiteX502" fmla="*/ 3023868 w 9143999"/>
              <a:gd name="connsiteY502" fmla="*/ 535983 h 6857999"/>
              <a:gd name="connsiteX503" fmla="*/ 3012333 w 9143999"/>
              <a:gd name="connsiteY503" fmla="*/ 499223 h 6857999"/>
              <a:gd name="connsiteX504" fmla="*/ 2964431 w 9143999"/>
              <a:gd name="connsiteY504" fmla="*/ 482601 h 6857999"/>
              <a:gd name="connsiteX505" fmla="*/ 2750894 w 9143999"/>
              <a:gd name="connsiteY505" fmla="*/ 482601 h 6857999"/>
              <a:gd name="connsiteX506" fmla="*/ 2689700 w 9143999"/>
              <a:gd name="connsiteY506" fmla="*/ 560596 h 6857999"/>
              <a:gd name="connsiteX507" fmla="*/ 2709465 w 9143999"/>
              <a:gd name="connsiteY507" fmla="*/ 628842 h 6857999"/>
              <a:gd name="connsiteX508" fmla="*/ 2757219 w 9143999"/>
              <a:gd name="connsiteY508" fmla="*/ 647701 h 6857999"/>
              <a:gd name="connsiteX509" fmla="*/ 2798174 w 9143999"/>
              <a:gd name="connsiteY509" fmla="*/ 636194 h 6857999"/>
              <a:gd name="connsiteX510" fmla="*/ 2805764 w 9143999"/>
              <a:gd name="connsiteY510" fmla="*/ 617973 h 6857999"/>
              <a:gd name="connsiteX511" fmla="*/ 2800388 w 9143999"/>
              <a:gd name="connsiteY511" fmla="*/ 606306 h 6857999"/>
              <a:gd name="connsiteX512" fmla="*/ 2791533 w 9143999"/>
              <a:gd name="connsiteY512" fmla="*/ 609982 h 6857999"/>
              <a:gd name="connsiteX513" fmla="*/ 2760856 w 9143999"/>
              <a:gd name="connsiteY513" fmla="*/ 615736 h 6857999"/>
              <a:gd name="connsiteX514" fmla="*/ 2727333 w 9143999"/>
              <a:gd name="connsiteY514" fmla="*/ 582492 h 6857999"/>
              <a:gd name="connsiteX515" fmla="*/ 2752001 w 9143999"/>
              <a:gd name="connsiteY515" fmla="*/ 583931 h 6857999"/>
              <a:gd name="connsiteX516" fmla="*/ 2809559 w 9143999"/>
              <a:gd name="connsiteY516" fmla="*/ 535983 h 6857999"/>
              <a:gd name="connsiteX517" fmla="*/ 2798332 w 9143999"/>
              <a:gd name="connsiteY517" fmla="*/ 499223 h 6857999"/>
              <a:gd name="connsiteX518" fmla="*/ 2750894 w 9143999"/>
              <a:gd name="connsiteY518" fmla="*/ 482601 h 6857999"/>
              <a:gd name="connsiteX519" fmla="*/ 1897631 w 9143999"/>
              <a:gd name="connsiteY519" fmla="*/ 482601 h 6857999"/>
              <a:gd name="connsiteX520" fmla="*/ 1835631 w 9143999"/>
              <a:gd name="connsiteY520" fmla="*/ 560596 h 6857999"/>
              <a:gd name="connsiteX521" fmla="*/ 1855656 w 9143999"/>
              <a:gd name="connsiteY521" fmla="*/ 628842 h 6857999"/>
              <a:gd name="connsiteX522" fmla="*/ 1904039 w 9143999"/>
              <a:gd name="connsiteY522" fmla="*/ 647701 h 6857999"/>
              <a:gd name="connsiteX523" fmla="*/ 1945533 w 9143999"/>
              <a:gd name="connsiteY523" fmla="*/ 636194 h 6857999"/>
              <a:gd name="connsiteX524" fmla="*/ 1953223 w 9143999"/>
              <a:gd name="connsiteY524" fmla="*/ 617973 h 6857999"/>
              <a:gd name="connsiteX525" fmla="*/ 1947776 w 9143999"/>
              <a:gd name="connsiteY525" fmla="*/ 606306 h 6857999"/>
              <a:gd name="connsiteX526" fmla="*/ 1938804 w 9143999"/>
              <a:gd name="connsiteY526" fmla="*/ 609982 h 6857999"/>
              <a:gd name="connsiteX527" fmla="*/ 1907724 w 9143999"/>
              <a:gd name="connsiteY527" fmla="*/ 615736 h 6857999"/>
              <a:gd name="connsiteX528" fmla="*/ 1873760 w 9143999"/>
              <a:gd name="connsiteY528" fmla="*/ 582492 h 6857999"/>
              <a:gd name="connsiteX529" fmla="*/ 1898752 w 9143999"/>
              <a:gd name="connsiteY529" fmla="*/ 583931 h 6857999"/>
              <a:gd name="connsiteX530" fmla="*/ 1957068 w 9143999"/>
              <a:gd name="connsiteY530" fmla="*/ 535983 h 6857999"/>
              <a:gd name="connsiteX531" fmla="*/ 1945693 w 9143999"/>
              <a:gd name="connsiteY531" fmla="*/ 499223 h 6857999"/>
              <a:gd name="connsiteX532" fmla="*/ 1897631 w 9143999"/>
              <a:gd name="connsiteY532" fmla="*/ 482601 h 6857999"/>
              <a:gd name="connsiteX533" fmla="*/ 2624027 w 9143999"/>
              <a:gd name="connsiteY533" fmla="*/ 452438 h 6857999"/>
              <a:gd name="connsiteX534" fmla="*/ 2600325 w 9143999"/>
              <a:gd name="connsiteY534" fmla="*/ 456226 h 6857999"/>
              <a:gd name="connsiteX535" fmla="*/ 2603348 w 9143999"/>
              <a:gd name="connsiteY535" fmla="*/ 473116 h 6857999"/>
              <a:gd name="connsiteX536" fmla="*/ 2603348 w 9143999"/>
              <a:gd name="connsiteY536" fmla="*/ 599549 h 6857999"/>
              <a:gd name="connsiteX537" fmla="*/ 2642321 w 9143999"/>
              <a:gd name="connsiteY537" fmla="*/ 646113 h 6857999"/>
              <a:gd name="connsiteX538" fmla="*/ 2676363 w 9143999"/>
              <a:gd name="connsiteY538" fmla="*/ 621016 h 6857999"/>
              <a:gd name="connsiteX539" fmla="*/ 2670796 w 9143999"/>
              <a:gd name="connsiteY539" fmla="*/ 608862 h 6857999"/>
              <a:gd name="connsiteX540" fmla="*/ 2664433 w 9143999"/>
              <a:gd name="connsiteY540" fmla="*/ 611545 h 6857999"/>
              <a:gd name="connsiteX541" fmla="*/ 2652979 w 9143999"/>
              <a:gd name="connsiteY541" fmla="*/ 614071 h 6857999"/>
              <a:gd name="connsiteX542" fmla="*/ 2641367 w 9143999"/>
              <a:gd name="connsiteY542" fmla="*/ 596392 h 6857999"/>
              <a:gd name="connsiteX543" fmla="*/ 2641367 w 9143999"/>
              <a:gd name="connsiteY543" fmla="*/ 519364 h 6857999"/>
              <a:gd name="connsiteX544" fmla="*/ 2660933 w 9143999"/>
              <a:gd name="connsiteY544" fmla="*/ 519364 h 6857999"/>
              <a:gd name="connsiteX545" fmla="*/ 2675886 w 9143999"/>
              <a:gd name="connsiteY545" fmla="*/ 500265 h 6857999"/>
              <a:gd name="connsiteX546" fmla="*/ 2671909 w 9143999"/>
              <a:gd name="connsiteY546" fmla="*/ 488111 h 6857999"/>
              <a:gd name="connsiteX547" fmla="*/ 2641526 w 9143999"/>
              <a:gd name="connsiteY547" fmla="*/ 488111 h 6857999"/>
              <a:gd name="connsiteX548" fmla="*/ 2641526 w 9143999"/>
              <a:gd name="connsiteY548" fmla="*/ 468222 h 6857999"/>
              <a:gd name="connsiteX549" fmla="*/ 2624027 w 9143999"/>
              <a:gd name="connsiteY549" fmla="*/ 452438 h 6857999"/>
              <a:gd name="connsiteX550" fmla="*/ 1087844 w 9143999"/>
              <a:gd name="connsiteY550" fmla="*/ 449262 h 6857999"/>
              <a:gd name="connsiteX551" fmla="*/ 973650 w 9143999"/>
              <a:gd name="connsiteY551" fmla="*/ 558157 h 6857999"/>
              <a:gd name="connsiteX552" fmla="*/ 991940 w 9143999"/>
              <a:gd name="connsiteY552" fmla="*/ 714375 h 6857999"/>
              <a:gd name="connsiteX553" fmla="*/ 1105975 w 9143999"/>
              <a:gd name="connsiteY553" fmla="*/ 605640 h 6857999"/>
              <a:gd name="connsiteX554" fmla="*/ 1087844 w 9143999"/>
              <a:gd name="connsiteY554" fmla="*/ 449262 h 6857999"/>
              <a:gd name="connsiteX555" fmla="*/ 709466 w 9143999"/>
              <a:gd name="connsiteY555" fmla="*/ 421422 h 6857999"/>
              <a:gd name="connsiteX556" fmla="*/ 754513 w 9143999"/>
              <a:gd name="connsiteY556" fmla="*/ 540436 h 6857999"/>
              <a:gd name="connsiteX557" fmla="*/ 878033 w 9143999"/>
              <a:gd name="connsiteY557" fmla="*/ 576959 h 6857999"/>
              <a:gd name="connsiteX558" fmla="*/ 833146 w 9143999"/>
              <a:gd name="connsiteY558" fmla="*/ 458102 h 6857999"/>
              <a:gd name="connsiteX559" fmla="*/ 709466 w 9143999"/>
              <a:gd name="connsiteY559" fmla="*/ 421422 h 6857999"/>
              <a:gd name="connsiteX560" fmla="*/ 2854785 w 9143999"/>
              <a:gd name="connsiteY560" fmla="*/ 420688 h 6857999"/>
              <a:gd name="connsiteX561" fmla="*/ 2830513 w 9143999"/>
              <a:gd name="connsiteY561" fmla="*/ 424329 h 6857999"/>
              <a:gd name="connsiteX562" fmla="*/ 2833911 w 9143999"/>
              <a:gd name="connsiteY562" fmla="*/ 444592 h 6857999"/>
              <a:gd name="connsiteX563" fmla="*/ 2833911 w 9143999"/>
              <a:gd name="connsiteY563" fmla="*/ 609386 h 6857999"/>
              <a:gd name="connsiteX564" fmla="*/ 2841031 w 9143999"/>
              <a:gd name="connsiteY564" fmla="*/ 637723 h 6857999"/>
              <a:gd name="connsiteX565" fmla="*/ 2862390 w 9143999"/>
              <a:gd name="connsiteY565" fmla="*/ 646113 h 6857999"/>
              <a:gd name="connsiteX566" fmla="*/ 2889251 w 9143999"/>
              <a:gd name="connsiteY566" fmla="*/ 626958 h 6857999"/>
              <a:gd name="connsiteX567" fmla="*/ 2887309 w 9143999"/>
              <a:gd name="connsiteY567" fmla="*/ 618568 h 6857999"/>
              <a:gd name="connsiteX568" fmla="*/ 2881970 w 9143999"/>
              <a:gd name="connsiteY568" fmla="*/ 618568 h 6857999"/>
              <a:gd name="connsiteX569" fmla="*/ 2875012 w 9143999"/>
              <a:gd name="connsiteY569" fmla="*/ 616985 h 6857999"/>
              <a:gd name="connsiteX570" fmla="*/ 2872584 w 9143999"/>
              <a:gd name="connsiteY570" fmla="*/ 605112 h 6857999"/>
              <a:gd name="connsiteX571" fmla="*/ 2872584 w 9143999"/>
              <a:gd name="connsiteY571" fmla="*/ 436518 h 6857999"/>
              <a:gd name="connsiteX572" fmla="*/ 2871937 w 9143999"/>
              <a:gd name="connsiteY572" fmla="*/ 430819 h 6857999"/>
              <a:gd name="connsiteX573" fmla="*/ 2854785 w 9143999"/>
              <a:gd name="connsiteY573" fmla="*/ 420688 h 6857999"/>
              <a:gd name="connsiteX574" fmla="*/ 1789652 w 9143999"/>
              <a:gd name="connsiteY574" fmla="*/ 420688 h 6857999"/>
              <a:gd name="connsiteX575" fmla="*/ 1766945 w 9143999"/>
              <a:gd name="connsiteY575" fmla="*/ 424324 h 6857999"/>
              <a:gd name="connsiteX576" fmla="*/ 1769941 w 9143999"/>
              <a:gd name="connsiteY576" fmla="*/ 444558 h 6857999"/>
              <a:gd name="connsiteX577" fmla="*/ 1769941 w 9143999"/>
              <a:gd name="connsiteY577" fmla="*/ 498622 h 6857999"/>
              <a:gd name="connsiteX578" fmla="*/ 1738403 w 9143999"/>
              <a:gd name="connsiteY578" fmla="*/ 483763 h 6857999"/>
              <a:gd name="connsiteX579" fmla="*/ 1701347 w 9143999"/>
              <a:gd name="connsiteY579" fmla="*/ 498939 h 6857999"/>
              <a:gd name="connsiteX580" fmla="*/ 1681322 w 9143999"/>
              <a:gd name="connsiteY580" fmla="*/ 561223 h 6857999"/>
              <a:gd name="connsiteX581" fmla="*/ 1701505 w 9143999"/>
              <a:gd name="connsiteY581" fmla="*/ 632202 h 6857999"/>
              <a:gd name="connsiteX582" fmla="*/ 1734146 w 9143999"/>
              <a:gd name="connsiteY582" fmla="*/ 646113 h 6857999"/>
              <a:gd name="connsiteX583" fmla="*/ 1770729 w 9143999"/>
              <a:gd name="connsiteY583" fmla="*/ 626511 h 6857999"/>
              <a:gd name="connsiteX584" fmla="*/ 1776406 w 9143999"/>
              <a:gd name="connsiteY584" fmla="*/ 637260 h 6857999"/>
              <a:gd name="connsiteX585" fmla="*/ 1796432 w 9143999"/>
              <a:gd name="connsiteY585" fmla="*/ 645639 h 6857999"/>
              <a:gd name="connsiteX586" fmla="*/ 1822451 w 9143999"/>
              <a:gd name="connsiteY586" fmla="*/ 626511 h 6857999"/>
              <a:gd name="connsiteX587" fmla="*/ 1820559 w 9143999"/>
              <a:gd name="connsiteY587" fmla="*/ 618133 h 6857999"/>
              <a:gd name="connsiteX588" fmla="*/ 1815513 w 9143999"/>
              <a:gd name="connsiteY588" fmla="*/ 618133 h 6857999"/>
              <a:gd name="connsiteX589" fmla="*/ 1808732 w 9143999"/>
              <a:gd name="connsiteY589" fmla="*/ 616552 h 6857999"/>
              <a:gd name="connsiteX590" fmla="*/ 1806367 w 9143999"/>
              <a:gd name="connsiteY590" fmla="*/ 604696 h 6857999"/>
              <a:gd name="connsiteX591" fmla="*/ 1806367 w 9143999"/>
              <a:gd name="connsiteY591" fmla="*/ 436338 h 6857999"/>
              <a:gd name="connsiteX592" fmla="*/ 1789652 w 9143999"/>
              <a:gd name="connsiteY592" fmla="*/ 420688 h 6857999"/>
              <a:gd name="connsiteX593" fmla="*/ 1346218 w 9143999"/>
              <a:gd name="connsiteY593" fmla="*/ 419100 h 6857999"/>
              <a:gd name="connsiteX594" fmla="*/ 1325125 w 9143999"/>
              <a:gd name="connsiteY594" fmla="*/ 421952 h 6857999"/>
              <a:gd name="connsiteX595" fmla="*/ 1299274 w 9143999"/>
              <a:gd name="connsiteY595" fmla="*/ 531733 h 6857999"/>
              <a:gd name="connsiteX596" fmla="*/ 1286586 w 9143999"/>
              <a:gd name="connsiteY596" fmla="*/ 593040 h 6857999"/>
              <a:gd name="connsiteX597" fmla="*/ 1273899 w 9143999"/>
              <a:gd name="connsiteY597" fmla="*/ 531258 h 6857999"/>
              <a:gd name="connsiteX598" fmla="*/ 1251696 w 9143999"/>
              <a:gd name="connsiteY598" fmla="*/ 436843 h 6857999"/>
              <a:gd name="connsiteX599" fmla="*/ 1231078 w 9143999"/>
              <a:gd name="connsiteY599" fmla="*/ 419734 h 6857999"/>
              <a:gd name="connsiteX600" fmla="*/ 1203324 w 9143999"/>
              <a:gd name="connsiteY600" fmla="*/ 428288 h 6857999"/>
              <a:gd name="connsiteX601" fmla="*/ 1212364 w 9143999"/>
              <a:gd name="connsiteY601" fmla="*/ 449041 h 6857999"/>
              <a:gd name="connsiteX602" fmla="*/ 1258356 w 9143999"/>
              <a:gd name="connsiteY602" fmla="*/ 624565 h 6857999"/>
              <a:gd name="connsiteX603" fmla="*/ 1277705 w 9143999"/>
              <a:gd name="connsiteY603" fmla="*/ 644367 h 6857999"/>
              <a:gd name="connsiteX604" fmla="*/ 1309107 w 9143999"/>
              <a:gd name="connsiteY604" fmla="*/ 638664 h 6857999"/>
              <a:gd name="connsiteX605" fmla="*/ 1361284 w 9143999"/>
              <a:gd name="connsiteY605" fmla="*/ 439536 h 6857999"/>
              <a:gd name="connsiteX606" fmla="*/ 1346218 w 9143999"/>
              <a:gd name="connsiteY606" fmla="*/ 419100 h 6857999"/>
              <a:gd name="connsiteX607" fmla="*/ 975229 w 9143999"/>
              <a:gd name="connsiteY607" fmla="*/ 306387 h 6857999"/>
              <a:gd name="connsiteX608" fmla="*/ 904312 w 9143999"/>
              <a:gd name="connsiteY608" fmla="*/ 394705 h 6857999"/>
              <a:gd name="connsiteX609" fmla="*/ 931358 w 9143999"/>
              <a:gd name="connsiteY609" fmla="*/ 504825 h 6857999"/>
              <a:gd name="connsiteX610" fmla="*/ 1002274 w 9143999"/>
              <a:gd name="connsiteY610" fmla="*/ 416666 h 6857999"/>
              <a:gd name="connsiteX611" fmla="*/ 975229 w 9143999"/>
              <a:gd name="connsiteY611" fmla="*/ 306387 h 6857999"/>
              <a:gd name="connsiteX612" fmla="*/ 0 w 9143999"/>
              <a:gd name="connsiteY612" fmla="*/ 0 h 6857999"/>
              <a:gd name="connsiteX613" fmla="*/ 9143999 w 9143999"/>
              <a:gd name="connsiteY613" fmla="*/ 0 h 6857999"/>
              <a:gd name="connsiteX614" fmla="*/ 9143999 w 9143999"/>
              <a:gd name="connsiteY614" fmla="*/ 6857999 h 6857999"/>
              <a:gd name="connsiteX615" fmla="*/ 0 w 9143999"/>
              <a:gd name="connsiteY61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Lst>
            <a:rect l="l" t="t" r="r" b="b"/>
            <a:pathLst>
              <a:path w="9143999" h="6857999">
                <a:moveTo>
                  <a:pt x="1909829" y="746126"/>
                </a:moveTo>
                <a:cubicBezTo>
                  <a:pt x="1921200" y="746126"/>
                  <a:pt x="1922463" y="756514"/>
                  <a:pt x="1921515" y="767062"/>
                </a:cubicBezTo>
                <a:cubicBezTo>
                  <a:pt x="1921515" y="767062"/>
                  <a:pt x="1921515" y="767062"/>
                  <a:pt x="1921042" y="770897"/>
                </a:cubicBezTo>
                <a:cubicBezTo>
                  <a:pt x="1918989" y="787358"/>
                  <a:pt x="1912356" y="793751"/>
                  <a:pt x="1904776" y="793751"/>
                </a:cubicBezTo>
                <a:cubicBezTo>
                  <a:pt x="1893563" y="793751"/>
                  <a:pt x="1892300" y="779687"/>
                  <a:pt x="1893563" y="769459"/>
                </a:cubicBezTo>
                <a:cubicBezTo>
                  <a:pt x="1894669" y="757952"/>
                  <a:pt x="1898617" y="746126"/>
                  <a:pt x="1909829" y="746126"/>
                </a:cubicBezTo>
                <a:close/>
                <a:moveTo>
                  <a:pt x="1752667" y="746126"/>
                </a:moveTo>
                <a:cubicBezTo>
                  <a:pt x="1764038" y="746126"/>
                  <a:pt x="1765301" y="756514"/>
                  <a:pt x="1764353" y="767062"/>
                </a:cubicBezTo>
                <a:cubicBezTo>
                  <a:pt x="1764353" y="767062"/>
                  <a:pt x="1764353" y="767062"/>
                  <a:pt x="1763880" y="770897"/>
                </a:cubicBezTo>
                <a:cubicBezTo>
                  <a:pt x="1761827" y="787358"/>
                  <a:pt x="1755194" y="793751"/>
                  <a:pt x="1747614" y="793751"/>
                </a:cubicBezTo>
                <a:cubicBezTo>
                  <a:pt x="1736401" y="793751"/>
                  <a:pt x="1735138" y="779687"/>
                  <a:pt x="1736401" y="769459"/>
                </a:cubicBezTo>
                <a:cubicBezTo>
                  <a:pt x="1737507" y="757952"/>
                  <a:pt x="1741455" y="746126"/>
                  <a:pt x="1752667" y="746126"/>
                </a:cubicBezTo>
                <a:close/>
                <a:moveTo>
                  <a:pt x="1646304" y="746126"/>
                </a:moveTo>
                <a:cubicBezTo>
                  <a:pt x="1658622" y="746126"/>
                  <a:pt x="1658938" y="758112"/>
                  <a:pt x="1657675" y="769619"/>
                </a:cubicBezTo>
                <a:cubicBezTo>
                  <a:pt x="1655780" y="787039"/>
                  <a:pt x="1648989" y="793751"/>
                  <a:pt x="1641093" y="793751"/>
                </a:cubicBezTo>
                <a:cubicBezTo>
                  <a:pt x="1630038" y="793751"/>
                  <a:pt x="1628775" y="779687"/>
                  <a:pt x="1629880" y="769619"/>
                </a:cubicBezTo>
                <a:cubicBezTo>
                  <a:pt x="1631144" y="758112"/>
                  <a:pt x="1635092" y="746126"/>
                  <a:pt x="1646304" y="746126"/>
                </a:cubicBezTo>
                <a:close/>
                <a:moveTo>
                  <a:pt x="1464425" y="746126"/>
                </a:moveTo>
                <a:cubicBezTo>
                  <a:pt x="1476351" y="746126"/>
                  <a:pt x="1477963" y="758350"/>
                  <a:pt x="1476674" y="769462"/>
                </a:cubicBezTo>
                <a:cubicBezTo>
                  <a:pt x="1475384" y="781051"/>
                  <a:pt x="1470872" y="793751"/>
                  <a:pt x="1459751" y="793751"/>
                </a:cubicBezTo>
                <a:cubicBezTo>
                  <a:pt x="1452337" y="793751"/>
                  <a:pt x="1446213" y="787877"/>
                  <a:pt x="1448308" y="769304"/>
                </a:cubicBezTo>
                <a:cubicBezTo>
                  <a:pt x="1450081" y="754540"/>
                  <a:pt x="1454916" y="746126"/>
                  <a:pt x="1464425" y="746126"/>
                </a:cubicBezTo>
                <a:close/>
                <a:moveTo>
                  <a:pt x="1386046" y="746126"/>
                </a:moveTo>
                <a:cubicBezTo>
                  <a:pt x="1397477" y="746126"/>
                  <a:pt x="1398588" y="756479"/>
                  <a:pt x="1397635" y="766992"/>
                </a:cubicBezTo>
                <a:cubicBezTo>
                  <a:pt x="1397635" y="766992"/>
                  <a:pt x="1397635" y="766992"/>
                  <a:pt x="1397318" y="770815"/>
                </a:cubicBezTo>
                <a:cubicBezTo>
                  <a:pt x="1395254" y="787380"/>
                  <a:pt x="1388587" y="793751"/>
                  <a:pt x="1380966" y="793751"/>
                </a:cubicBezTo>
                <a:cubicBezTo>
                  <a:pt x="1369696" y="793751"/>
                  <a:pt x="1368425" y="779575"/>
                  <a:pt x="1369536" y="769540"/>
                </a:cubicBezTo>
                <a:cubicBezTo>
                  <a:pt x="1370806" y="758072"/>
                  <a:pt x="1374775" y="746126"/>
                  <a:pt x="1386046" y="746126"/>
                </a:cubicBezTo>
                <a:close/>
                <a:moveTo>
                  <a:pt x="2479170" y="744538"/>
                </a:moveTo>
                <a:cubicBezTo>
                  <a:pt x="2486706" y="744538"/>
                  <a:pt x="2490788" y="748560"/>
                  <a:pt x="2490003" y="756445"/>
                </a:cubicBezTo>
                <a:cubicBezTo>
                  <a:pt x="2489218" y="764650"/>
                  <a:pt x="2484037" y="768351"/>
                  <a:pt x="2474774" y="768351"/>
                </a:cubicBezTo>
                <a:cubicBezTo>
                  <a:pt x="2474774" y="768351"/>
                  <a:pt x="2474774" y="768351"/>
                  <a:pt x="2462213" y="768351"/>
                </a:cubicBezTo>
                <a:cubicBezTo>
                  <a:pt x="2462213" y="768351"/>
                  <a:pt x="2462213" y="768351"/>
                  <a:pt x="2462370" y="766742"/>
                </a:cubicBezTo>
                <a:cubicBezTo>
                  <a:pt x="2463783" y="752583"/>
                  <a:pt x="2468650" y="744538"/>
                  <a:pt x="2479170" y="744538"/>
                </a:cubicBezTo>
                <a:close/>
                <a:moveTo>
                  <a:pt x="2335503" y="736601"/>
                </a:moveTo>
                <a:cubicBezTo>
                  <a:pt x="2332812" y="736601"/>
                  <a:pt x="2331704" y="737556"/>
                  <a:pt x="2331387" y="740261"/>
                </a:cubicBezTo>
                <a:cubicBezTo>
                  <a:pt x="2331387" y="740261"/>
                  <a:pt x="2331387" y="740261"/>
                  <a:pt x="2327272" y="778291"/>
                </a:cubicBezTo>
                <a:cubicBezTo>
                  <a:pt x="2325688" y="792293"/>
                  <a:pt x="2328379" y="804864"/>
                  <a:pt x="2344052" y="804864"/>
                </a:cubicBezTo>
                <a:cubicBezTo>
                  <a:pt x="2351809" y="804864"/>
                  <a:pt x="2357825" y="800568"/>
                  <a:pt x="2362732" y="795158"/>
                </a:cubicBezTo>
                <a:cubicBezTo>
                  <a:pt x="2363366" y="802000"/>
                  <a:pt x="2366849" y="804228"/>
                  <a:pt x="2372231" y="804228"/>
                </a:cubicBezTo>
                <a:cubicBezTo>
                  <a:pt x="2378880" y="804228"/>
                  <a:pt x="2382047" y="801522"/>
                  <a:pt x="2382521" y="797067"/>
                </a:cubicBezTo>
                <a:cubicBezTo>
                  <a:pt x="2382838" y="794203"/>
                  <a:pt x="2382206" y="794044"/>
                  <a:pt x="2380780" y="794044"/>
                </a:cubicBezTo>
                <a:cubicBezTo>
                  <a:pt x="2376822" y="794044"/>
                  <a:pt x="2375239" y="793726"/>
                  <a:pt x="2376031" y="786565"/>
                </a:cubicBezTo>
                <a:cubicBezTo>
                  <a:pt x="2376031" y="786565"/>
                  <a:pt x="2376031" y="786565"/>
                  <a:pt x="2381096" y="740261"/>
                </a:cubicBezTo>
                <a:cubicBezTo>
                  <a:pt x="2381413" y="737556"/>
                  <a:pt x="2380622" y="736601"/>
                  <a:pt x="2377930" y="736601"/>
                </a:cubicBezTo>
                <a:cubicBezTo>
                  <a:pt x="2377930" y="736601"/>
                  <a:pt x="2377930" y="736601"/>
                  <a:pt x="2371914" y="736601"/>
                </a:cubicBezTo>
                <a:cubicBezTo>
                  <a:pt x="2369382" y="736601"/>
                  <a:pt x="2368273" y="737556"/>
                  <a:pt x="2368115" y="740261"/>
                </a:cubicBezTo>
                <a:cubicBezTo>
                  <a:pt x="2368115" y="740261"/>
                  <a:pt x="2368115" y="740261"/>
                  <a:pt x="2363366" y="783701"/>
                </a:cubicBezTo>
                <a:cubicBezTo>
                  <a:pt x="2360358" y="789270"/>
                  <a:pt x="2356083" y="793885"/>
                  <a:pt x="2349276" y="793885"/>
                </a:cubicBezTo>
                <a:cubicBezTo>
                  <a:pt x="2342152" y="793885"/>
                  <a:pt x="2339303" y="788315"/>
                  <a:pt x="2340252" y="779564"/>
                </a:cubicBezTo>
                <a:cubicBezTo>
                  <a:pt x="2340252" y="779564"/>
                  <a:pt x="2340252" y="779564"/>
                  <a:pt x="2344527" y="740261"/>
                </a:cubicBezTo>
                <a:cubicBezTo>
                  <a:pt x="2344844" y="737556"/>
                  <a:pt x="2344210" y="736601"/>
                  <a:pt x="2341361" y="736601"/>
                </a:cubicBezTo>
                <a:cubicBezTo>
                  <a:pt x="2341361" y="736601"/>
                  <a:pt x="2341361" y="736601"/>
                  <a:pt x="2335503" y="736601"/>
                </a:cubicBezTo>
                <a:close/>
                <a:moveTo>
                  <a:pt x="2213107" y="736601"/>
                </a:moveTo>
                <a:cubicBezTo>
                  <a:pt x="2210574" y="736601"/>
                  <a:pt x="2209466" y="737556"/>
                  <a:pt x="2209149" y="740261"/>
                </a:cubicBezTo>
                <a:cubicBezTo>
                  <a:pt x="2209149" y="740261"/>
                  <a:pt x="2209149" y="740261"/>
                  <a:pt x="2205033" y="778291"/>
                </a:cubicBezTo>
                <a:cubicBezTo>
                  <a:pt x="2203450" y="792293"/>
                  <a:pt x="2206142" y="804864"/>
                  <a:pt x="2221815" y="804864"/>
                </a:cubicBezTo>
                <a:cubicBezTo>
                  <a:pt x="2229571" y="804864"/>
                  <a:pt x="2235587" y="800568"/>
                  <a:pt x="2240494" y="795158"/>
                </a:cubicBezTo>
                <a:cubicBezTo>
                  <a:pt x="2240969" y="802000"/>
                  <a:pt x="2244611" y="804387"/>
                  <a:pt x="2249994" y="804387"/>
                </a:cubicBezTo>
                <a:cubicBezTo>
                  <a:pt x="2256642" y="804387"/>
                  <a:pt x="2259808" y="801522"/>
                  <a:pt x="2260283" y="797067"/>
                </a:cubicBezTo>
                <a:cubicBezTo>
                  <a:pt x="2260600" y="794203"/>
                  <a:pt x="2259808" y="794044"/>
                  <a:pt x="2258543" y="794044"/>
                </a:cubicBezTo>
                <a:cubicBezTo>
                  <a:pt x="2254584" y="794044"/>
                  <a:pt x="2253002" y="793726"/>
                  <a:pt x="2253793" y="786565"/>
                </a:cubicBezTo>
                <a:cubicBezTo>
                  <a:pt x="2253793" y="786565"/>
                  <a:pt x="2253793" y="786565"/>
                  <a:pt x="2258858" y="740261"/>
                </a:cubicBezTo>
                <a:cubicBezTo>
                  <a:pt x="2259018" y="737556"/>
                  <a:pt x="2258384" y="736601"/>
                  <a:pt x="2255692" y="736601"/>
                </a:cubicBezTo>
                <a:cubicBezTo>
                  <a:pt x="2255692" y="736601"/>
                  <a:pt x="2255692" y="736601"/>
                  <a:pt x="2249676" y="736601"/>
                </a:cubicBezTo>
                <a:cubicBezTo>
                  <a:pt x="2247144" y="736601"/>
                  <a:pt x="2246035" y="737556"/>
                  <a:pt x="2245719" y="740261"/>
                </a:cubicBezTo>
                <a:cubicBezTo>
                  <a:pt x="2245719" y="740261"/>
                  <a:pt x="2245719" y="740261"/>
                  <a:pt x="2241128" y="783701"/>
                </a:cubicBezTo>
                <a:cubicBezTo>
                  <a:pt x="2238120" y="789270"/>
                  <a:pt x="2233845" y="794044"/>
                  <a:pt x="2227038" y="794044"/>
                </a:cubicBezTo>
                <a:cubicBezTo>
                  <a:pt x="2219914" y="794044"/>
                  <a:pt x="2217065" y="788315"/>
                  <a:pt x="2218014" y="779564"/>
                </a:cubicBezTo>
                <a:cubicBezTo>
                  <a:pt x="2218014" y="779564"/>
                  <a:pt x="2218014" y="779564"/>
                  <a:pt x="2222290" y="740261"/>
                </a:cubicBezTo>
                <a:cubicBezTo>
                  <a:pt x="2222605" y="737556"/>
                  <a:pt x="2221815" y="736601"/>
                  <a:pt x="2219123" y="736601"/>
                </a:cubicBezTo>
                <a:cubicBezTo>
                  <a:pt x="2219123" y="736601"/>
                  <a:pt x="2219123" y="736601"/>
                  <a:pt x="2213107" y="736601"/>
                </a:cubicBezTo>
                <a:close/>
                <a:moveTo>
                  <a:pt x="2109895" y="736601"/>
                </a:moveTo>
                <a:cubicBezTo>
                  <a:pt x="2106335" y="736601"/>
                  <a:pt x="2105689" y="737716"/>
                  <a:pt x="2104555" y="741061"/>
                </a:cubicBezTo>
                <a:cubicBezTo>
                  <a:pt x="2104555" y="741061"/>
                  <a:pt x="2104555" y="741061"/>
                  <a:pt x="2086106" y="791238"/>
                </a:cubicBezTo>
                <a:cubicBezTo>
                  <a:pt x="2086106" y="791238"/>
                  <a:pt x="2086106" y="791238"/>
                  <a:pt x="2077367" y="741698"/>
                </a:cubicBezTo>
                <a:cubicBezTo>
                  <a:pt x="2076881" y="737716"/>
                  <a:pt x="2076558" y="736760"/>
                  <a:pt x="2072836" y="736760"/>
                </a:cubicBezTo>
                <a:cubicBezTo>
                  <a:pt x="2072836" y="736760"/>
                  <a:pt x="2072836" y="736760"/>
                  <a:pt x="2066686" y="736760"/>
                </a:cubicBezTo>
                <a:cubicBezTo>
                  <a:pt x="2063611" y="736760"/>
                  <a:pt x="2062964" y="738194"/>
                  <a:pt x="2063611" y="740902"/>
                </a:cubicBezTo>
                <a:cubicBezTo>
                  <a:pt x="2063611" y="740902"/>
                  <a:pt x="2063611" y="740902"/>
                  <a:pt x="2078014" y="803344"/>
                </a:cubicBezTo>
                <a:cubicBezTo>
                  <a:pt x="2078014" y="803344"/>
                  <a:pt x="2078014" y="803344"/>
                  <a:pt x="2076234" y="807485"/>
                </a:cubicBezTo>
                <a:cubicBezTo>
                  <a:pt x="2070408" y="820388"/>
                  <a:pt x="2064744" y="820707"/>
                  <a:pt x="2057300" y="820707"/>
                </a:cubicBezTo>
                <a:cubicBezTo>
                  <a:pt x="2055681" y="820707"/>
                  <a:pt x="2054710" y="821503"/>
                  <a:pt x="2054549" y="823733"/>
                </a:cubicBezTo>
                <a:cubicBezTo>
                  <a:pt x="2054225" y="827715"/>
                  <a:pt x="2057138" y="830264"/>
                  <a:pt x="2063935" y="830264"/>
                </a:cubicBezTo>
                <a:cubicBezTo>
                  <a:pt x="2074778" y="830264"/>
                  <a:pt x="2082707" y="825007"/>
                  <a:pt x="2094198" y="798724"/>
                </a:cubicBezTo>
                <a:cubicBezTo>
                  <a:pt x="2094198" y="798724"/>
                  <a:pt x="2094198" y="798724"/>
                  <a:pt x="2119605" y="740902"/>
                </a:cubicBezTo>
                <a:cubicBezTo>
                  <a:pt x="2120900" y="737875"/>
                  <a:pt x="2120414" y="736601"/>
                  <a:pt x="2117502" y="736601"/>
                </a:cubicBezTo>
                <a:close/>
                <a:moveTo>
                  <a:pt x="1515815" y="736601"/>
                </a:moveTo>
                <a:cubicBezTo>
                  <a:pt x="1513017" y="736601"/>
                  <a:pt x="1512029" y="737565"/>
                  <a:pt x="1511701" y="740295"/>
                </a:cubicBezTo>
                <a:cubicBezTo>
                  <a:pt x="1506267" y="788802"/>
                  <a:pt x="1506267" y="788802"/>
                  <a:pt x="1506267" y="788802"/>
                </a:cubicBezTo>
                <a:cubicBezTo>
                  <a:pt x="1504951" y="800849"/>
                  <a:pt x="1508901" y="804864"/>
                  <a:pt x="1516145" y="804864"/>
                </a:cubicBezTo>
                <a:cubicBezTo>
                  <a:pt x="1522895" y="804864"/>
                  <a:pt x="1526352" y="802134"/>
                  <a:pt x="1526846" y="797636"/>
                </a:cubicBezTo>
                <a:cubicBezTo>
                  <a:pt x="1527175" y="794745"/>
                  <a:pt x="1526187" y="794584"/>
                  <a:pt x="1524870" y="794584"/>
                </a:cubicBezTo>
                <a:cubicBezTo>
                  <a:pt x="1520919" y="794584"/>
                  <a:pt x="1519273" y="794103"/>
                  <a:pt x="1520096" y="786875"/>
                </a:cubicBezTo>
                <a:cubicBezTo>
                  <a:pt x="1525199" y="740295"/>
                  <a:pt x="1525199" y="740295"/>
                  <a:pt x="1525199" y="740295"/>
                </a:cubicBezTo>
                <a:cubicBezTo>
                  <a:pt x="1525529" y="737565"/>
                  <a:pt x="1524870" y="736601"/>
                  <a:pt x="1521907" y="736601"/>
                </a:cubicBezTo>
                <a:cubicBezTo>
                  <a:pt x="1515815" y="736601"/>
                  <a:pt x="1515815" y="736601"/>
                  <a:pt x="1515815" y="736601"/>
                </a:cubicBezTo>
                <a:close/>
                <a:moveTo>
                  <a:pt x="2478906" y="735173"/>
                </a:moveTo>
                <a:cubicBezTo>
                  <a:pt x="2461056" y="735173"/>
                  <a:pt x="2451349" y="747771"/>
                  <a:pt x="2449156" y="768184"/>
                </a:cubicBezTo>
                <a:cubicBezTo>
                  <a:pt x="2446338" y="794497"/>
                  <a:pt x="2457298" y="804863"/>
                  <a:pt x="2475148" y="804863"/>
                </a:cubicBezTo>
                <a:cubicBezTo>
                  <a:pt x="2482194" y="804863"/>
                  <a:pt x="2488770" y="803268"/>
                  <a:pt x="2493311" y="800398"/>
                </a:cubicBezTo>
                <a:cubicBezTo>
                  <a:pt x="2495659" y="798803"/>
                  <a:pt x="2497382" y="796730"/>
                  <a:pt x="2497695" y="793859"/>
                </a:cubicBezTo>
                <a:cubicBezTo>
                  <a:pt x="2497851" y="791786"/>
                  <a:pt x="2497225" y="790510"/>
                  <a:pt x="2495816" y="790510"/>
                </a:cubicBezTo>
                <a:cubicBezTo>
                  <a:pt x="2493780" y="790510"/>
                  <a:pt x="2485795" y="794338"/>
                  <a:pt x="2477183" y="794338"/>
                </a:cubicBezTo>
                <a:cubicBezTo>
                  <a:pt x="2468415" y="794338"/>
                  <a:pt x="2461369" y="790191"/>
                  <a:pt x="2461369" y="776955"/>
                </a:cubicBezTo>
                <a:lnTo>
                  <a:pt x="2474678" y="776955"/>
                </a:lnTo>
                <a:cubicBezTo>
                  <a:pt x="2491275" y="776955"/>
                  <a:pt x="2500670" y="769938"/>
                  <a:pt x="2502236" y="757499"/>
                </a:cubicBezTo>
                <a:cubicBezTo>
                  <a:pt x="2503488" y="745060"/>
                  <a:pt x="2496755" y="735013"/>
                  <a:pt x="2478906" y="735173"/>
                </a:cubicBezTo>
                <a:close/>
                <a:moveTo>
                  <a:pt x="2431416" y="735013"/>
                </a:moveTo>
                <a:cubicBezTo>
                  <a:pt x="2425861" y="735013"/>
                  <a:pt x="2421256" y="737411"/>
                  <a:pt x="2417446" y="742207"/>
                </a:cubicBezTo>
                <a:cubicBezTo>
                  <a:pt x="2416336" y="736772"/>
                  <a:pt x="2414906" y="736452"/>
                  <a:pt x="2409826" y="736452"/>
                </a:cubicBezTo>
                <a:cubicBezTo>
                  <a:pt x="2406809" y="736452"/>
                  <a:pt x="2405698" y="737251"/>
                  <a:pt x="2405381" y="739649"/>
                </a:cubicBezTo>
                <a:lnTo>
                  <a:pt x="2398873" y="799599"/>
                </a:lnTo>
                <a:cubicBezTo>
                  <a:pt x="2398713" y="802317"/>
                  <a:pt x="2399666" y="803276"/>
                  <a:pt x="2402206" y="803276"/>
                </a:cubicBezTo>
                <a:cubicBezTo>
                  <a:pt x="2402206" y="803276"/>
                  <a:pt x="2402206" y="803276"/>
                  <a:pt x="2408238" y="803276"/>
                </a:cubicBezTo>
                <a:cubicBezTo>
                  <a:pt x="2410778" y="803116"/>
                  <a:pt x="2411890" y="802317"/>
                  <a:pt x="2412207" y="799599"/>
                </a:cubicBezTo>
                <a:cubicBezTo>
                  <a:pt x="2412207" y="799599"/>
                  <a:pt x="2412207" y="799599"/>
                  <a:pt x="2416177" y="762030"/>
                </a:cubicBezTo>
                <a:cubicBezTo>
                  <a:pt x="2417922" y="752758"/>
                  <a:pt x="2422526" y="746843"/>
                  <a:pt x="2430940" y="746843"/>
                </a:cubicBezTo>
                <a:cubicBezTo>
                  <a:pt x="2435226" y="746843"/>
                  <a:pt x="2436972" y="748762"/>
                  <a:pt x="2438401" y="748762"/>
                </a:cubicBezTo>
                <a:cubicBezTo>
                  <a:pt x="2439512" y="748762"/>
                  <a:pt x="2440782" y="747163"/>
                  <a:pt x="2441259" y="743486"/>
                </a:cubicBezTo>
                <a:cubicBezTo>
                  <a:pt x="2441576" y="740129"/>
                  <a:pt x="2439512" y="735013"/>
                  <a:pt x="2431416" y="735013"/>
                </a:cubicBezTo>
                <a:close/>
                <a:moveTo>
                  <a:pt x="1981421" y="735013"/>
                </a:moveTo>
                <a:cubicBezTo>
                  <a:pt x="1970651" y="735013"/>
                  <a:pt x="1958594" y="739489"/>
                  <a:pt x="1957468" y="752595"/>
                </a:cubicBezTo>
                <a:cubicBezTo>
                  <a:pt x="1954896" y="778809"/>
                  <a:pt x="1987530" y="767620"/>
                  <a:pt x="1985762" y="785203"/>
                </a:cubicBezTo>
                <a:cubicBezTo>
                  <a:pt x="1985280" y="789838"/>
                  <a:pt x="1981743" y="794793"/>
                  <a:pt x="1971937" y="794633"/>
                </a:cubicBezTo>
                <a:cubicBezTo>
                  <a:pt x="1960040" y="794314"/>
                  <a:pt x="1956182" y="789838"/>
                  <a:pt x="1954253" y="789998"/>
                </a:cubicBezTo>
                <a:cubicBezTo>
                  <a:pt x="1952485" y="790158"/>
                  <a:pt x="1951842" y="793035"/>
                  <a:pt x="1951681" y="794154"/>
                </a:cubicBezTo>
                <a:cubicBezTo>
                  <a:pt x="1951038" y="801666"/>
                  <a:pt x="1961005" y="804863"/>
                  <a:pt x="1972419" y="804863"/>
                </a:cubicBezTo>
                <a:cubicBezTo>
                  <a:pt x="1987530" y="804863"/>
                  <a:pt x="1997658" y="798150"/>
                  <a:pt x="1999105" y="785203"/>
                </a:cubicBezTo>
                <a:cubicBezTo>
                  <a:pt x="2001838" y="755632"/>
                  <a:pt x="1969204" y="767301"/>
                  <a:pt x="1970490" y="753075"/>
                </a:cubicBezTo>
                <a:cubicBezTo>
                  <a:pt x="1971133" y="747161"/>
                  <a:pt x="1976438" y="744923"/>
                  <a:pt x="1983351" y="745243"/>
                </a:cubicBezTo>
                <a:cubicBezTo>
                  <a:pt x="1992675" y="745562"/>
                  <a:pt x="1995890" y="750038"/>
                  <a:pt x="1998140" y="749718"/>
                </a:cubicBezTo>
                <a:cubicBezTo>
                  <a:pt x="1999427" y="749718"/>
                  <a:pt x="2000713" y="748120"/>
                  <a:pt x="2000873" y="745882"/>
                </a:cubicBezTo>
                <a:cubicBezTo>
                  <a:pt x="2001516" y="739648"/>
                  <a:pt x="1992192" y="735013"/>
                  <a:pt x="1981421" y="735013"/>
                </a:cubicBezTo>
                <a:close/>
                <a:moveTo>
                  <a:pt x="1907942" y="735013"/>
                </a:moveTo>
                <a:cubicBezTo>
                  <a:pt x="1889236" y="735013"/>
                  <a:pt x="1881442" y="751751"/>
                  <a:pt x="1879883" y="767524"/>
                </a:cubicBezTo>
                <a:cubicBezTo>
                  <a:pt x="1878013" y="784262"/>
                  <a:pt x="1881910" y="804702"/>
                  <a:pt x="1899992" y="804702"/>
                </a:cubicBezTo>
                <a:cubicBezTo>
                  <a:pt x="1906695" y="804702"/>
                  <a:pt x="1912774" y="802610"/>
                  <a:pt x="1918230" y="795689"/>
                </a:cubicBezTo>
                <a:cubicBezTo>
                  <a:pt x="1918074" y="802127"/>
                  <a:pt x="1923062" y="804863"/>
                  <a:pt x="1927738" y="804863"/>
                </a:cubicBezTo>
                <a:cubicBezTo>
                  <a:pt x="1933817" y="804863"/>
                  <a:pt x="1937559" y="802127"/>
                  <a:pt x="1938026" y="797460"/>
                </a:cubicBezTo>
                <a:cubicBezTo>
                  <a:pt x="1938338" y="794724"/>
                  <a:pt x="1937559" y="794563"/>
                  <a:pt x="1936156" y="794563"/>
                </a:cubicBezTo>
                <a:cubicBezTo>
                  <a:pt x="1932570" y="794563"/>
                  <a:pt x="1930856" y="794080"/>
                  <a:pt x="1931479" y="787642"/>
                </a:cubicBezTo>
                <a:cubicBezTo>
                  <a:pt x="1931479" y="787642"/>
                  <a:pt x="1931479" y="787642"/>
                  <a:pt x="1936623" y="739680"/>
                </a:cubicBezTo>
                <a:cubicBezTo>
                  <a:pt x="1936779" y="737266"/>
                  <a:pt x="1936156" y="736462"/>
                  <a:pt x="1932882" y="736462"/>
                </a:cubicBezTo>
                <a:cubicBezTo>
                  <a:pt x="1927582" y="736462"/>
                  <a:pt x="1926335" y="736783"/>
                  <a:pt x="1923685" y="743060"/>
                </a:cubicBezTo>
                <a:cubicBezTo>
                  <a:pt x="1919633" y="737105"/>
                  <a:pt x="1913865" y="735013"/>
                  <a:pt x="1907942" y="735013"/>
                </a:cubicBezTo>
                <a:close/>
                <a:moveTo>
                  <a:pt x="1751566" y="735013"/>
                </a:moveTo>
                <a:cubicBezTo>
                  <a:pt x="1732369" y="735013"/>
                  <a:pt x="1724370" y="751751"/>
                  <a:pt x="1722770" y="767524"/>
                </a:cubicBezTo>
                <a:cubicBezTo>
                  <a:pt x="1720850" y="784262"/>
                  <a:pt x="1725009" y="804702"/>
                  <a:pt x="1743407" y="804702"/>
                </a:cubicBezTo>
                <a:cubicBezTo>
                  <a:pt x="1750287" y="804702"/>
                  <a:pt x="1756526" y="802610"/>
                  <a:pt x="1762125" y="795689"/>
                </a:cubicBezTo>
                <a:cubicBezTo>
                  <a:pt x="1761965" y="802288"/>
                  <a:pt x="1767085" y="804863"/>
                  <a:pt x="1771884" y="804863"/>
                </a:cubicBezTo>
                <a:cubicBezTo>
                  <a:pt x="1778123" y="804863"/>
                  <a:pt x="1781963" y="802127"/>
                  <a:pt x="1782443" y="797460"/>
                </a:cubicBezTo>
                <a:cubicBezTo>
                  <a:pt x="1782763" y="794884"/>
                  <a:pt x="1781963" y="794563"/>
                  <a:pt x="1780523" y="794563"/>
                </a:cubicBezTo>
                <a:cubicBezTo>
                  <a:pt x="1776844" y="794563"/>
                  <a:pt x="1775084" y="794080"/>
                  <a:pt x="1775724" y="787642"/>
                </a:cubicBezTo>
                <a:cubicBezTo>
                  <a:pt x="1775724" y="787642"/>
                  <a:pt x="1775724" y="787642"/>
                  <a:pt x="1781003" y="739841"/>
                </a:cubicBezTo>
                <a:cubicBezTo>
                  <a:pt x="1781323" y="737266"/>
                  <a:pt x="1780523" y="736462"/>
                  <a:pt x="1777164" y="736462"/>
                </a:cubicBezTo>
                <a:cubicBezTo>
                  <a:pt x="1771724" y="736462"/>
                  <a:pt x="1770444" y="736783"/>
                  <a:pt x="1767725" y="743060"/>
                </a:cubicBezTo>
                <a:cubicBezTo>
                  <a:pt x="1763565" y="737105"/>
                  <a:pt x="1757646" y="735013"/>
                  <a:pt x="1751566" y="735013"/>
                </a:cubicBezTo>
                <a:close/>
                <a:moveTo>
                  <a:pt x="1643463" y="735013"/>
                </a:moveTo>
                <a:cubicBezTo>
                  <a:pt x="1624682" y="735013"/>
                  <a:pt x="1616724" y="752168"/>
                  <a:pt x="1615133" y="767399"/>
                </a:cubicBezTo>
                <a:cubicBezTo>
                  <a:pt x="1613382" y="784394"/>
                  <a:pt x="1617202" y="804435"/>
                  <a:pt x="1636460" y="804435"/>
                </a:cubicBezTo>
                <a:cubicBezTo>
                  <a:pt x="1642667" y="804435"/>
                  <a:pt x="1648715" y="802671"/>
                  <a:pt x="1653808" y="796419"/>
                </a:cubicBezTo>
                <a:cubicBezTo>
                  <a:pt x="1653808" y="796419"/>
                  <a:pt x="1653808" y="796419"/>
                  <a:pt x="1653331" y="801549"/>
                </a:cubicBezTo>
                <a:cubicBezTo>
                  <a:pt x="1651899" y="815818"/>
                  <a:pt x="1643941" y="820949"/>
                  <a:pt x="1633914" y="820949"/>
                </a:cubicBezTo>
                <a:cubicBezTo>
                  <a:pt x="1622454" y="820949"/>
                  <a:pt x="1615769" y="816780"/>
                  <a:pt x="1614337" y="816780"/>
                </a:cubicBezTo>
                <a:cubicBezTo>
                  <a:pt x="1613223" y="816780"/>
                  <a:pt x="1612428" y="818544"/>
                  <a:pt x="1612109" y="820788"/>
                </a:cubicBezTo>
                <a:cubicBezTo>
                  <a:pt x="1611313" y="828324"/>
                  <a:pt x="1621181" y="831851"/>
                  <a:pt x="1633754" y="831851"/>
                </a:cubicBezTo>
                <a:cubicBezTo>
                  <a:pt x="1648556" y="831851"/>
                  <a:pt x="1663836" y="825598"/>
                  <a:pt x="1666382" y="801549"/>
                </a:cubicBezTo>
                <a:cubicBezTo>
                  <a:pt x="1666382" y="801549"/>
                  <a:pt x="1666382" y="801549"/>
                  <a:pt x="1673067" y="739823"/>
                </a:cubicBezTo>
                <a:cubicBezTo>
                  <a:pt x="1673226" y="737418"/>
                  <a:pt x="1672589" y="736616"/>
                  <a:pt x="1669247" y="736616"/>
                </a:cubicBezTo>
                <a:cubicBezTo>
                  <a:pt x="1663995" y="736616"/>
                  <a:pt x="1662721" y="736937"/>
                  <a:pt x="1660016" y="743190"/>
                </a:cubicBezTo>
                <a:cubicBezTo>
                  <a:pt x="1655718" y="737097"/>
                  <a:pt x="1649830" y="735013"/>
                  <a:pt x="1643463" y="735013"/>
                </a:cubicBezTo>
                <a:close/>
                <a:moveTo>
                  <a:pt x="1579235" y="735013"/>
                </a:moveTo>
                <a:cubicBezTo>
                  <a:pt x="1570912" y="735013"/>
                  <a:pt x="1565150" y="738732"/>
                  <a:pt x="1560829" y="743259"/>
                </a:cubicBezTo>
                <a:cubicBezTo>
                  <a:pt x="1559388" y="736630"/>
                  <a:pt x="1558268" y="736307"/>
                  <a:pt x="1552826" y="736307"/>
                </a:cubicBezTo>
                <a:cubicBezTo>
                  <a:pt x="1549625" y="736307"/>
                  <a:pt x="1548505" y="737115"/>
                  <a:pt x="1548345" y="739702"/>
                </a:cubicBezTo>
                <a:lnTo>
                  <a:pt x="1541783" y="800174"/>
                </a:lnTo>
                <a:cubicBezTo>
                  <a:pt x="1541463" y="802923"/>
                  <a:pt x="1542423" y="803731"/>
                  <a:pt x="1545144" y="803731"/>
                </a:cubicBezTo>
                <a:cubicBezTo>
                  <a:pt x="1545144" y="803731"/>
                  <a:pt x="1545144" y="803731"/>
                  <a:pt x="1551066" y="803731"/>
                </a:cubicBezTo>
                <a:cubicBezTo>
                  <a:pt x="1553627" y="803731"/>
                  <a:pt x="1554747" y="802923"/>
                  <a:pt x="1555067" y="800174"/>
                </a:cubicBezTo>
                <a:cubicBezTo>
                  <a:pt x="1555067" y="800174"/>
                  <a:pt x="1555067" y="800174"/>
                  <a:pt x="1559869" y="755709"/>
                </a:cubicBezTo>
                <a:cubicBezTo>
                  <a:pt x="1562910" y="750374"/>
                  <a:pt x="1567391" y="746170"/>
                  <a:pt x="1573793" y="746170"/>
                </a:cubicBezTo>
                <a:cubicBezTo>
                  <a:pt x="1581155" y="746170"/>
                  <a:pt x="1584036" y="752314"/>
                  <a:pt x="1582756" y="761530"/>
                </a:cubicBezTo>
                <a:cubicBezTo>
                  <a:pt x="1582756" y="761530"/>
                  <a:pt x="1582756" y="761530"/>
                  <a:pt x="1579875" y="788694"/>
                </a:cubicBezTo>
                <a:cubicBezTo>
                  <a:pt x="1578594" y="800821"/>
                  <a:pt x="1582596" y="804863"/>
                  <a:pt x="1589478" y="804863"/>
                </a:cubicBezTo>
                <a:cubicBezTo>
                  <a:pt x="1596200" y="804863"/>
                  <a:pt x="1599562" y="802114"/>
                  <a:pt x="1600041" y="797587"/>
                </a:cubicBezTo>
                <a:cubicBezTo>
                  <a:pt x="1600202" y="794677"/>
                  <a:pt x="1599401" y="794515"/>
                  <a:pt x="1597960" y="794515"/>
                </a:cubicBezTo>
                <a:cubicBezTo>
                  <a:pt x="1594279" y="794515"/>
                  <a:pt x="1592519" y="794030"/>
                  <a:pt x="1593319" y="786754"/>
                </a:cubicBezTo>
                <a:cubicBezTo>
                  <a:pt x="1593319" y="786754"/>
                  <a:pt x="1593319" y="786754"/>
                  <a:pt x="1596040" y="762824"/>
                </a:cubicBezTo>
                <a:cubicBezTo>
                  <a:pt x="1597480" y="747787"/>
                  <a:pt x="1595239" y="735013"/>
                  <a:pt x="1579235" y="735013"/>
                </a:cubicBezTo>
                <a:close/>
                <a:moveTo>
                  <a:pt x="1469320" y="735013"/>
                </a:moveTo>
                <a:cubicBezTo>
                  <a:pt x="1460981" y="735013"/>
                  <a:pt x="1455529" y="739134"/>
                  <a:pt x="1451360" y="744839"/>
                </a:cubicBezTo>
                <a:cubicBezTo>
                  <a:pt x="1451199" y="744522"/>
                  <a:pt x="1451039" y="744363"/>
                  <a:pt x="1451039" y="744047"/>
                </a:cubicBezTo>
                <a:cubicBezTo>
                  <a:pt x="1451039" y="744047"/>
                  <a:pt x="1451039" y="744047"/>
                  <a:pt x="1451199" y="743096"/>
                </a:cubicBezTo>
                <a:cubicBezTo>
                  <a:pt x="1451199" y="743096"/>
                  <a:pt x="1451199" y="743096"/>
                  <a:pt x="1451039" y="743096"/>
                </a:cubicBezTo>
                <a:cubicBezTo>
                  <a:pt x="1449596" y="736756"/>
                  <a:pt x="1448313" y="736439"/>
                  <a:pt x="1442861" y="736439"/>
                </a:cubicBezTo>
                <a:cubicBezTo>
                  <a:pt x="1439814" y="736439"/>
                  <a:pt x="1438692" y="737232"/>
                  <a:pt x="1438372" y="739767"/>
                </a:cubicBezTo>
                <a:cubicBezTo>
                  <a:pt x="1438372" y="739767"/>
                  <a:pt x="1438372" y="739767"/>
                  <a:pt x="1429071" y="825189"/>
                </a:cubicBezTo>
                <a:cubicBezTo>
                  <a:pt x="1428750" y="827884"/>
                  <a:pt x="1429552" y="828676"/>
                  <a:pt x="1432117" y="828676"/>
                </a:cubicBezTo>
                <a:cubicBezTo>
                  <a:pt x="1432117" y="828676"/>
                  <a:pt x="1432117" y="828676"/>
                  <a:pt x="1438211" y="828676"/>
                </a:cubicBezTo>
                <a:cubicBezTo>
                  <a:pt x="1440776" y="828676"/>
                  <a:pt x="1441899" y="827884"/>
                  <a:pt x="1442220" y="825189"/>
                </a:cubicBezTo>
                <a:cubicBezTo>
                  <a:pt x="1442220" y="825189"/>
                  <a:pt x="1442220" y="825189"/>
                  <a:pt x="1445587" y="793176"/>
                </a:cubicBezTo>
                <a:cubicBezTo>
                  <a:pt x="1448634" y="799674"/>
                  <a:pt x="1453765" y="804111"/>
                  <a:pt x="1462585" y="804111"/>
                </a:cubicBezTo>
                <a:cubicBezTo>
                  <a:pt x="1479582" y="804111"/>
                  <a:pt x="1488402" y="787946"/>
                  <a:pt x="1490326" y="770830"/>
                </a:cubicBezTo>
                <a:cubicBezTo>
                  <a:pt x="1492250" y="753872"/>
                  <a:pt x="1488241" y="735013"/>
                  <a:pt x="1469320" y="735013"/>
                </a:cubicBezTo>
                <a:close/>
                <a:moveTo>
                  <a:pt x="1384854" y="735013"/>
                </a:moveTo>
                <a:cubicBezTo>
                  <a:pt x="1365497" y="735174"/>
                  <a:pt x="1357658" y="751912"/>
                  <a:pt x="1355898" y="767685"/>
                </a:cubicBezTo>
                <a:cubicBezTo>
                  <a:pt x="1354138" y="784423"/>
                  <a:pt x="1358137" y="804863"/>
                  <a:pt x="1376695" y="804702"/>
                </a:cubicBezTo>
                <a:cubicBezTo>
                  <a:pt x="1383415" y="804702"/>
                  <a:pt x="1389814" y="802610"/>
                  <a:pt x="1395413" y="795689"/>
                </a:cubicBezTo>
                <a:cubicBezTo>
                  <a:pt x="1395253" y="802288"/>
                  <a:pt x="1400213" y="804863"/>
                  <a:pt x="1405172" y="804863"/>
                </a:cubicBezTo>
                <a:cubicBezTo>
                  <a:pt x="1411251" y="804863"/>
                  <a:pt x="1415251" y="802127"/>
                  <a:pt x="1415731" y="797460"/>
                </a:cubicBezTo>
                <a:cubicBezTo>
                  <a:pt x="1416052" y="794884"/>
                  <a:pt x="1415091" y="794563"/>
                  <a:pt x="1413811" y="794563"/>
                </a:cubicBezTo>
                <a:cubicBezTo>
                  <a:pt x="1410132" y="794563"/>
                  <a:pt x="1408372" y="794241"/>
                  <a:pt x="1409013" y="787803"/>
                </a:cubicBezTo>
                <a:cubicBezTo>
                  <a:pt x="1409013" y="787803"/>
                  <a:pt x="1409013" y="787803"/>
                  <a:pt x="1414131" y="739841"/>
                </a:cubicBezTo>
                <a:cubicBezTo>
                  <a:pt x="1414451" y="737266"/>
                  <a:pt x="1413651" y="736462"/>
                  <a:pt x="1410452" y="736462"/>
                </a:cubicBezTo>
                <a:cubicBezTo>
                  <a:pt x="1405012" y="736462"/>
                  <a:pt x="1403732" y="736944"/>
                  <a:pt x="1401013" y="743221"/>
                </a:cubicBezTo>
                <a:cubicBezTo>
                  <a:pt x="1396853" y="737105"/>
                  <a:pt x="1390934" y="735013"/>
                  <a:pt x="1384854" y="735013"/>
                </a:cubicBezTo>
                <a:close/>
                <a:moveTo>
                  <a:pt x="1249744" y="735013"/>
                </a:moveTo>
                <a:cubicBezTo>
                  <a:pt x="1238813" y="735013"/>
                  <a:pt x="1226916" y="739489"/>
                  <a:pt x="1225630" y="752595"/>
                </a:cubicBezTo>
                <a:cubicBezTo>
                  <a:pt x="1223058" y="778809"/>
                  <a:pt x="1255692" y="767620"/>
                  <a:pt x="1253924" y="785203"/>
                </a:cubicBezTo>
                <a:cubicBezTo>
                  <a:pt x="1253602" y="789838"/>
                  <a:pt x="1250066" y="794793"/>
                  <a:pt x="1240099" y="794633"/>
                </a:cubicBezTo>
                <a:cubicBezTo>
                  <a:pt x="1228363" y="794314"/>
                  <a:pt x="1224344" y="789838"/>
                  <a:pt x="1222415" y="789998"/>
                </a:cubicBezTo>
                <a:cubicBezTo>
                  <a:pt x="1220808" y="790158"/>
                  <a:pt x="1220164" y="793035"/>
                  <a:pt x="1220004" y="794154"/>
                </a:cubicBezTo>
                <a:cubicBezTo>
                  <a:pt x="1219200" y="801666"/>
                  <a:pt x="1229328" y="804863"/>
                  <a:pt x="1240742" y="804863"/>
                </a:cubicBezTo>
                <a:cubicBezTo>
                  <a:pt x="1255692" y="804863"/>
                  <a:pt x="1265981" y="798150"/>
                  <a:pt x="1267267" y="785203"/>
                </a:cubicBezTo>
                <a:cubicBezTo>
                  <a:pt x="1270000" y="755632"/>
                  <a:pt x="1237527" y="767301"/>
                  <a:pt x="1238652" y="753075"/>
                </a:cubicBezTo>
                <a:cubicBezTo>
                  <a:pt x="1239295" y="747161"/>
                  <a:pt x="1244761" y="744923"/>
                  <a:pt x="1251513" y="745243"/>
                </a:cubicBezTo>
                <a:cubicBezTo>
                  <a:pt x="1260997" y="745562"/>
                  <a:pt x="1264213" y="750038"/>
                  <a:pt x="1266463" y="749718"/>
                </a:cubicBezTo>
                <a:cubicBezTo>
                  <a:pt x="1267749" y="749718"/>
                  <a:pt x="1268875" y="748120"/>
                  <a:pt x="1269035" y="745882"/>
                </a:cubicBezTo>
                <a:cubicBezTo>
                  <a:pt x="1269839" y="739648"/>
                  <a:pt x="1260515" y="735013"/>
                  <a:pt x="1249744" y="735013"/>
                </a:cubicBezTo>
                <a:close/>
                <a:moveTo>
                  <a:pt x="2296572" y="717551"/>
                </a:moveTo>
                <a:cubicBezTo>
                  <a:pt x="2293031" y="717551"/>
                  <a:pt x="2291099" y="718975"/>
                  <a:pt x="2287720" y="736056"/>
                </a:cubicBezTo>
                <a:cubicBezTo>
                  <a:pt x="2287720" y="736056"/>
                  <a:pt x="2287720" y="736056"/>
                  <a:pt x="2287559" y="736373"/>
                </a:cubicBezTo>
                <a:cubicBezTo>
                  <a:pt x="2287559" y="736373"/>
                  <a:pt x="2287559" y="736373"/>
                  <a:pt x="2281926" y="736373"/>
                </a:cubicBezTo>
                <a:cubicBezTo>
                  <a:pt x="2279672" y="736373"/>
                  <a:pt x="2279029" y="737322"/>
                  <a:pt x="2278707" y="739378"/>
                </a:cubicBezTo>
                <a:cubicBezTo>
                  <a:pt x="2278707" y="739378"/>
                  <a:pt x="2278707" y="739378"/>
                  <a:pt x="2278224" y="743964"/>
                </a:cubicBezTo>
                <a:cubicBezTo>
                  <a:pt x="2278063" y="746021"/>
                  <a:pt x="2278707" y="746653"/>
                  <a:pt x="2280799" y="746653"/>
                </a:cubicBezTo>
                <a:cubicBezTo>
                  <a:pt x="2280799" y="746653"/>
                  <a:pt x="2280799" y="746653"/>
                  <a:pt x="2285305" y="746653"/>
                </a:cubicBezTo>
                <a:cubicBezTo>
                  <a:pt x="2285305" y="746653"/>
                  <a:pt x="2285305" y="746653"/>
                  <a:pt x="2280960" y="784771"/>
                </a:cubicBezTo>
                <a:cubicBezTo>
                  <a:pt x="2279672" y="796475"/>
                  <a:pt x="2284662" y="803276"/>
                  <a:pt x="2295123" y="803276"/>
                </a:cubicBezTo>
                <a:cubicBezTo>
                  <a:pt x="2304136" y="803276"/>
                  <a:pt x="2309125" y="798689"/>
                  <a:pt x="2309769" y="793944"/>
                </a:cubicBezTo>
                <a:cubicBezTo>
                  <a:pt x="2309930" y="791256"/>
                  <a:pt x="2308482" y="790465"/>
                  <a:pt x="2307999" y="790465"/>
                </a:cubicBezTo>
                <a:cubicBezTo>
                  <a:pt x="2306711" y="790465"/>
                  <a:pt x="2303976" y="792363"/>
                  <a:pt x="2299951" y="792363"/>
                </a:cubicBezTo>
                <a:cubicBezTo>
                  <a:pt x="2295284" y="792363"/>
                  <a:pt x="2294157" y="788725"/>
                  <a:pt x="2294479" y="783031"/>
                </a:cubicBezTo>
                <a:cubicBezTo>
                  <a:pt x="2294479" y="783031"/>
                  <a:pt x="2294479" y="783031"/>
                  <a:pt x="2298503" y="746653"/>
                </a:cubicBezTo>
                <a:cubicBezTo>
                  <a:pt x="2298503" y="746653"/>
                  <a:pt x="2298503" y="746653"/>
                  <a:pt x="2309125" y="746653"/>
                </a:cubicBezTo>
                <a:cubicBezTo>
                  <a:pt x="2311217" y="746653"/>
                  <a:pt x="2311861" y="745862"/>
                  <a:pt x="2312183" y="743964"/>
                </a:cubicBezTo>
                <a:cubicBezTo>
                  <a:pt x="2312183" y="743964"/>
                  <a:pt x="2312183" y="743964"/>
                  <a:pt x="2312666" y="739220"/>
                </a:cubicBezTo>
                <a:cubicBezTo>
                  <a:pt x="2312988" y="737163"/>
                  <a:pt x="2312345" y="736373"/>
                  <a:pt x="2310252" y="736373"/>
                </a:cubicBezTo>
                <a:cubicBezTo>
                  <a:pt x="2310252" y="736373"/>
                  <a:pt x="2310252" y="736373"/>
                  <a:pt x="2299629" y="736373"/>
                </a:cubicBezTo>
                <a:lnTo>
                  <a:pt x="2301239" y="722138"/>
                </a:lnTo>
                <a:cubicBezTo>
                  <a:pt x="2301561" y="718184"/>
                  <a:pt x="2301078" y="717551"/>
                  <a:pt x="2296572" y="717551"/>
                </a:cubicBezTo>
                <a:close/>
                <a:moveTo>
                  <a:pt x="2034473" y="717551"/>
                </a:moveTo>
                <a:cubicBezTo>
                  <a:pt x="2031093" y="717551"/>
                  <a:pt x="2029161" y="718819"/>
                  <a:pt x="2025782" y="735932"/>
                </a:cubicBezTo>
                <a:cubicBezTo>
                  <a:pt x="2025782" y="735932"/>
                  <a:pt x="2025782" y="735932"/>
                  <a:pt x="2025621" y="736407"/>
                </a:cubicBezTo>
                <a:cubicBezTo>
                  <a:pt x="2025621" y="736407"/>
                  <a:pt x="2025621" y="736407"/>
                  <a:pt x="2019988" y="736407"/>
                </a:cubicBezTo>
                <a:cubicBezTo>
                  <a:pt x="2017734" y="736407"/>
                  <a:pt x="2017091" y="737200"/>
                  <a:pt x="2016769" y="739260"/>
                </a:cubicBezTo>
                <a:cubicBezTo>
                  <a:pt x="2016769" y="739260"/>
                  <a:pt x="2016769" y="739260"/>
                  <a:pt x="2016286" y="743855"/>
                </a:cubicBezTo>
                <a:cubicBezTo>
                  <a:pt x="2016125" y="745915"/>
                  <a:pt x="2016769" y="746707"/>
                  <a:pt x="2018861" y="746707"/>
                </a:cubicBezTo>
                <a:cubicBezTo>
                  <a:pt x="2018861" y="746707"/>
                  <a:pt x="2018861" y="746707"/>
                  <a:pt x="2023367" y="746707"/>
                </a:cubicBezTo>
                <a:cubicBezTo>
                  <a:pt x="2023367" y="746707"/>
                  <a:pt x="2023367" y="746707"/>
                  <a:pt x="2018861" y="784737"/>
                </a:cubicBezTo>
                <a:cubicBezTo>
                  <a:pt x="2017734" y="796621"/>
                  <a:pt x="2022724" y="803276"/>
                  <a:pt x="2033185" y="803276"/>
                </a:cubicBezTo>
                <a:cubicBezTo>
                  <a:pt x="2042198" y="803276"/>
                  <a:pt x="2047187" y="798839"/>
                  <a:pt x="2047831" y="793927"/>
                </a:cubicBezTo>
                <a:cubicBezTo>
                  <a:pt x="2047992" y="791233"/>
                  <a:pt x="2046543" y="790441"/>
                  <a:pt x="2046061" y="790441"/>
                </a:cubicBezTo>
                <a:cubicBezTo>
                  <a:pt x="2044773" y="790441"/>
                  <a:pt x="2042037" y="792501"/>
                  <a:pt x="2038013" y="792501"/>
                </a:cubicBezTo>
                <a:cubicBezTo>
                  <a:pt x="2033185" y="792501"/>
                  <a:pt x="2032219" y="788698"/>
                  <a:pt x="2032541" y="783152"/>
                </a:cubicBezTo>
                <a:cubicBezTo>
                  <a:pt x="2032541" y="783152"/>
                  <a:pt x="2032541" y="783152"/>
                  <a:pt x="2036565" y="746707"/>
                </a:cubicBezTo>
                <a:cubicBezTo>
                  <a:pt x="2036565" y="746707"/>
                  <a:pt x="2036565" y="746707"/>
                  <a:pt x="2047026" y="746707"/>
                </a:cubicBezTo>
                <a:cubicBezTo>
                  <a:pt x="2049280" y="746707"/>
                  <a:pt x="2049923" y="745756"/>
                  <a:pt x="2050245" y="743855"/>
                </a:cubicBezTo>
                <a:cubicBezTo>
                  <a:pt x="2050245" y="743855"/>
                  <a:pt x="2050245" y="743855"/>
                  <a:pt x="2050728" y="739101"/>
                </a:cubicBezTo>
                <a:cubicBezTo>
                  <a:pt x="2051050" y="737041"/>
                  <a:pt x="2050406" y="736407"/>
                  <a:pt x="2048314" y="736407"/>
                </a:cubicBezTo>
                <a:cubicBezTo>
                  <a:pt x="2048314" y="736407"/>
                  <a:pt x="2048314" y="736407"/>
                  <a:pt x="2037692" y="736407"/>
                </a:cubicBezTo>
                <a:lnTo>
                  <a:pt x="2039301" y="721988"/>
                </a:lnTo>
                <a:cubicBezTo>
                  <a:pt x="2039623" y="718026"/>
                  <a:pt x="2039140" y="717551"/>
                  <a:pt x="2034473" y="717551"/>
                </a:cubicBezTo>
                <a:close/>
                <a:moveTo>
                  <a:pt x="1851231" y="717551"/>
                </a:moveTo>
                <a:cubicBezTo>
                  <a:pt x="1847851" y="717551"/>
                  <a:pt x="1846161" y="718977"/>
                  <a:pt x="1842934" y="735932"/>
                </a:cubicBezTo>
                <a:cubicBezTo>
                  <a:pt x="1842934" y="735932"/>
                  <a:pt x="1842934" y="735932"/>
                  <a:pt x="1842627" y="736407"/>
                </a:cubicBezTo>
                <a:cubicBezTo>
                  <a:pt x="1842627" y="736407"/>
                  <a:pt x="1842627" y="736407"/>
                  <a:pt x="1837250" y="736407"/>
                </a:cubicBezTo>
                <a:cubicBezTo>
                  <a:pt x="1835099" y="736407"/>
                  <a:pt x="1834485" y="737200"/>
                  <a:pt x="1834177" y="739260"/>
                </a:cubicBezTo>
                <a:cubicBezTo>
                  <a:pt x="1834177" y="739260"/>
                  <a:pt x="1834177" y="739260"/>
                  <a:pt x="1833717" y="743855"/>
                </a:cubicBezTo>
                <a:cubicBezTo>
                  <a:pt x="1833563" y="745915"/>
                  <a:pt x="1834177" y="746707"/>
                  <a:pt x="1836175" y="746707"/>
                </a:cubicBezTo>
                <a:cubicBezTo>
                  <a:pt x="1836175" y="746707"/>
                  <a:pt x="1836175" y="746707"/>
                  <a:pt x="1840476" y="746707"/>
                </a:cubicBezTo>
                <a:cubicBezTo>
                  <a:pt x="1840476" y="746707"/>
                  <a:pt x="1840476" y="746707"/>
                  <a:pt x="1836328" y="784737"/>
                </a:cubicBezTo>
                <a:cubicBezTo>
                  <a:pt x="1835099" y="796621"/>
                  <a:pt x="1839862" y="803276"/>
                  <a:pt x="1849848" y="803276"/>
                </a:cubicBezTo>
                <a:cubicBezTo>
                  <a:pt x="1858451" y="803276"/>
                  <a:pt x="1863214" y="798839"/>
                  <a:pt x="1863828" y="793927"/>
                </a:cubicBezTo>
                <a:cubicBezTo>
                  <a:pt x="1864136" y="791233"/>
                  <a:pt x="1862599" y="790600"/>
                  <a:pt x="1862138" y="790600"/>
                </a:cubicBezTo>
                <a:cubicBezTo>
                  <a:pt x="1860909" y="790600"/>
                  <a:pt x="1858298" y="792501"/>
                  <a:pt x="1854457" y="792501"/>
                </a:cubicBezTo>
                <a:cubicBezTo>
                  <a:pt x="1850001" y="792501"/>
                  <a:pt x="1848926" y="788698"/>
                  <a:pt x="1849233" y="783152"/>
                </a:cubicBezTo>
                <a:cubicBezTo>
                  <a:pt x="1849233" y="783152"/>
                  <a:pt x="1849233" y="783152"/>
                  <a:pt x="1853074" y="746707"/>
                </a:cubicBezTo>
                <a:cubicBezTo>
                  <a:pt x="1853074" y="746707"/>
                  <a:pt x="1853074" y="746707"/>
                  <a:pt x="1863214" y="746707"/>
                </a:cubicBezTo>
                <a:cubicBezTo>
                  <a:pt x="1865365" y="746707"/>
                  <a:pt x="1865826" y="745915"/>
                  <a:pt x="1866133" y="743855"/>
                </a:cubicBezTo>
                <a:cubicBezTo>
                  <a:pt x="1866133" y="743855"/>
                  <a:pt x="1866133" y="743855"/>
                  <a:pt x="1866747" y="739101"/>
                </a:cubicBezTo>
                <a:cubicBezTo>
                  <a:pt x="1866901" y="737041"/>
                  <a:pt x="1866286" y="736407"/>
                  <a:pt x="1864289" y="736407"/>
                </a:cubicBezTo>
                <a:cubicBezTo>
                  <a:pt x="1864289" y="736407"/>
                  <a:pt x="1864289" y="736407"/>
                  <a:pt x="1854150" y="736407"/>
                </a:cubicBezTo>
                <a:lnTo>
                  <a:pt x="1855686" y="721988"/>
                </a:lnTo>
                <a:cubicBezTo>
                  <a:pt x="1856147" y="718026"/>
                  <a:pt x="1855686" y="717551"/>
                  <a:pt x="1851231" y="717551"/>
                </a:cubicBezTo>
                <a:close/>
                <a:moveTo>
                  <a:pt x="1521635" y="708026"/>
                </a:moveTo>
                <a:cubicBezTo>
                  <a:pt x="1515966" y="708026"/>
                  <a:pt x="1513212" y="710972"/>
                  <a:pt x="1513050" y="716864"/>
                </a:cubicBezTo>
                <a:cubicBezTo>
                  <a:pt x="1512888" y="721446"/>
                  <a:pt x="1515157" y="723901"/>
                  <a:pt x="1519853" y="723901"/>
                </a:cubicBezTo>
                <a:cubicBezTo>
                  <a:pt x="1525361" y="723901"/>
                  <a:pt x="1528439" y="720791"/>
                  <a:pt x="1528601" y="714900"/>
                </a:cubicBezTo>
                <a:cubicBezTo>
                  <a:pt x="1528763" y="710317"/>
                  <a:pt x="1526333" y="708026"/>
                  <a:pt x="1521635" y="708026"/>
                </a:cubicBezTo>
                <a:close/>
                <a:moveTo>
                  <a:pt x="2191578" y="704851"/>
                </a:moveTo>
                <a:cubicBezTo>
                  <a:pt x="2180493" y="704851"/>
                  <a:pt x="2172892" y="712126"/>
                  <a:pt x="2171467" y="724936"/>
                </a:cubicBezTo>
                <a:cubicBezTo>
                  <a:pt x="2171467" y="724936"/>
                  <a:pt x="2171467" y="724936"/>
                  <a:pt x="2170358" y="736165"/>
                </a:cubicBezTo>
                <a:cubicBezTo>
                  <a:pt x="2170358" y="736165"/>
                  <a:pt x="2170358" y="736165"/>
                  <a:pt x="2164974" y="736165"/>
                </a:cubicBezTo>
                <a:cubicBezTo>
                  <a:pt x="2162916" y="736165"/>
                  <a:pt x="2162124" y="737114"/>
                  <a:pt x="2161807" y="739170"/>
                </a:cubicBezTo>
                <a:cubicBezTo>
                  <a:pt x="2161807" y="739170"/>
                  <a:pt x="2161807" y="739170"/>
                  <a:pt x="2161332" y="743756"/>
                </a:cubicBezTo>
                <a:cubicBezTo>
                  <a:pt x="2161175" y="745812"/>
                  <a:pt x="2161649" y="746603"/>
                  <a:pt x="2163867" y="746603"/>
                </a:cubicBezTo>
                <a:cubicBezTo>
                  <a:pt x="2163867" y="746603"/>
                  <a:pt x="2163867" y="746603"/>
                  <a:pt x="2169250" y="746603"/>
                </a:cubicBezTo>
                <a:lnTo>
                  <a:pt x="2162441" y="808281"/>
                </a:lnTo>
                <a:cubicBezTo>
                  <a:pt x="2161807" y="814923"/>
                  <a:pt x="2158957" y="819352"/>
                  <a:pt x="2152464" y="819352"/>
                </a:cubicBezTo>
                <a:cubicBezTo>
                  <a:pt x="2148664" y="819352"/>
                  <a:pt x="2145655" y="817454"/>
                  <a:pt x="2144547" y="817454"/>
                </a:cubicBezTo>
                <a:cubicBezTo>
                  <a:pt x="2143756" y="817454"/>
                  <a:pt x="2142330" y="818245"/>
                  <a:pt x="2142171" y="820775"/>
                </a:cubicBezTo>
                <a:cubicBezTo>
                  <a:pt x="2141538" y="825678"/>
                  <a:pt x="2146130" y="830264"/>
                  <a:pt x="2154523" y="830264"/>
                </a:cubicBezTo>
                <a:cubicBezTo>
                  <a:pt x="2166875" y="830264"/>
                  <a:pt x="2173525" y="822989"/>
                  <a:pt x="2175109" y="810021"/>
                </a:cubicBezTo>
                <a:cubicBezTo>
                  <a:pt x="2175109" y="810021"/>
                  <a:pt x="2175109" y="810021"/>
                  <a:pt x="2181918" y="746603"/>
                </a:cubicBezTo>
                <a:cubicBezTo>
                  <a:pt x="2181918" y="746603"/>
                  <a:pt x="2181918" y="746603"/>
                  <a:pt x="2191737" y="746603"/>
                </a:cubicBezTo>
                <a:cubicBezTo>
                  <a:pt x="2193954" y="746603"/>
                  <a:pt x="2194745" y="745654"/>
                  <a:pt x="2194904" y="743756"/>
                </a:cubicBezTo>
                <a:cubicBezTo>
                  <a:pt x="2194904" y="743756"/>
                  <a:pt x="2194904" y="743756"/>
                  <a:pt x="2195538" y="739011"/>
                </a:cubicBezTo>
                <a:cubicBezTo>
                  <a:pt x="2195695" y="736955"/>
                  <a:pt x="2195063" y="736165"/>
                  <a:pt x="2192845" y="736165"/>
                </a:cubicBezTo>
                <a:cubicBezTo>
                  <a:pt x="2192845" y="736165"/>
                  <a:pt x="2192845" y="736165"/>
                  <a:pt x="2183027" y="736165"/>
                </a:cubicBezTo>
                <a:cubicBezTo>
                  <a:pt x="2183027" y="736165"/>
                  <a:pt x="2183027" y="736165"/>
                  <a:pt x="2184135" y="726834"/>
                </a:cubicBezTo>
                <a:cubicBezTo>
                  <a:pt x="2184769" y="720033"/>
                  <a:pt x="2187144" y="715605"/>
                  <a:pt x="2193954" y="715605"/>
                </a:cubicBezTo>
                <a:cubicBezTo>
                  <a:pt x="2197596" y="715605"/>
                  <a:pt x="2200763" y="717503"/>
                  <a:pt x="2202029" y="717503"/>
                </a:cubicBezTo>
                <a:cubicBezTo>
                  <a:pt x="2202979" y="717503"/>
                  <a:pt x="2204246" y="716870"/>
                  <a:pt x="2204564" y="714340"/>
                </a:cubicBezTo>
                <a:cubicBezTo>
                  <a:pt x="2205039" y="709279"/>
                  <a:pt x="2200446" y="704851"/>
                  <a:pt x="2191578" y="704851"/>
                </a:cubicBezTo>
                <a:close/>
                <a:moveTo>
                  <a:pt x="1298258" y="704851"/>
                </a:moveTo>
                <a:cubicBezTo>
                  <a:pt x="1295559" y="704851"/>
                  <a:pt x="1294607" y="705810"/>
                  <a:pt x="1294448" y="708526"/>
                </a:cubicBezTo>
                <a:cubicBezTo>
                  <a:pt x="1294448" y="708526"/>
                  <a:pt x="1294448" y="708526"/>
                  <a:pt x="1284447" y="799761"/>
                </a:cubicBezTo>
                <a:cubicBezTo>
                  <a:pt x="1284288" y="802477"/>
                  <a:pt x="1285082" y="803276"/>
                  <a:pt x="1287622" y="803276"/>
                </a:cubicBezTo>
                <a:cubicBezTo>
                  <a:pt x="1287622" y="803276"/>
                  <a:pt x="1287622" y="803276"/>
                  <a:pt x="1293654" y="803276"/>
                </a:cubicBezTo>
                <a:cubicBezTo>
                  <a:pt x="1296036" y="803276"/>
                  <a:pt x="1297306" y="802477"/>
                  <a:pt x="1297464" y="799761"/>
                </a:cubicBezTo>
                <a:cubicBezTo>
                  <a:pt x="1297464" y="799761"/>
                  <a:pt x="1297464" y="799761"/>
                  <a:pt x="1302386" y="755502"/>
                </a:cubicBezTo>
                <a:cubicBezTo>
                  <a:pt x="1305561" y="750229"/>
                  <a:pt x="1309688" y="746074"/>
                  <a:pt x="1316038" y="746074"/>
                </a:cubicBezTo>
                <a:cubicBezTo>
                  <a:pt x="1323500" y="746074"/>
                  <a:pt x="1326357" y="752146"/>
                  <a:pt x="1325246" y="761413"/>
                </a:cubicBezTo>
                <a:cubicBezTo>
                  <a:pt x="1325246" y="761413"/>
                  <a:pt x="1325246" y="761413"/>
                  <a:pt x="1321118" y="799761"/>
                </a:cubicBezTo>
                <a:cubicBezTo>
                  <a:pt x="1320801" y="802477"/>
                  <a:pt x="1321753" y="803276"/>
                  <a:pt x="1324293" y="803276"/>
                </a:cubicBezTo>
                <a:cubicBezTo>
                  <a:pt x="1324293" y="803276"/>
                  <a:pt x="1324293" y="803276"/>
                  <a:pt x="1330326" y="803276"/>
                </a:cubicBezTo>
                <a:cubicBezTo>
                  <a:pt x="1332866" y="803276"/>
                  <a:pt x="1333977" y="802477"/>
                  <a:pt x="1334136" y="799761"/>
                </a:cubicBezTo>
                <a:cubicBezTo>
                  <a:pt x="1334136" y="799761"/>
                  <a:pt x="1334136" y="799761"/>
                  <a:pt x="1338263" y="762532"/>
                </a:cubicBezTo>
                <a:cubicBezTo>
                  <a:pt x="1339851" y="747672"/>
                  <a:pt x="1337471" y="735209"/>
                  <a:pt x="1321436" y="735209"/>
                </a:cubicBezTo>
                <a:cubicBezTo>
                  <a:pt x="1313498" y="735209"/>
                  <a:pt x="1307942" y="738565"/>
                  <a:pt x="1303656" y="743039"/>
                </a:cubicBezTo>
                <a:cubicBezTo>
                  <a:pt x="1303656" y="743039"/>
                  <a:pt x="1303656" y="743039"/>
                  <a:pt x="1307466" y="708526"/>
                </a:cubicBezTo>
                <a:cubicBezTo>
                  <a:pt x="1307783" y="705810"/>
                  <a:pt x="1306989" y="704851"/>
                  <a:pt x="1304132" y="704851"/>
                </a:cubicBezTo>
                <a:cubicBezTo>
                  <a:pt x="1304132" y="704851"/>
                  <a:pt x="1304132" y="704851"/>
                  <a:pt x="1298258" y="704851"/>
                </a:cubicBezTo>
                <a:close/>
                <a:moveTo>
                  <a:pt x="756802" y="617133"/>
                </a:moveTo>
                <a:cubicBezTo>
                  <a:pt x="741194" y="617643"/>
                  <a:pt x="725676" y="619902"/>
                  <a:pt x="710564" y="623866"/>
                </a:cubicBezTo>
                <a:cubicBezTo>
                  <a:pt x="709612" y="686487"/>
                  <a:pt x="736901" y="748634"/>
                  <a:pt x="790209" y="790011"/>
                </a:cubicBezTo>
                <a:cubicBezTo>
                  <a:pt x="843358" y="831548"/>
                  <a:pt x="910151" y="842962"/>
                  <a:pt x="970757" y="826950"/>
                </a:cubicBezTo>
                <a:cubicBezTo>
                  <a:pt x="971550" y="764487"/>
                  <a:pt x="944262" y="702341"/>
                  <a:pt x="891113" y="660963"/>
                </a:cubicBezTo>
                <a:cubicBezTo>
                  <a:pt x="851251" y="629811"/>
                  <a:pt x="803625" y="615602"/>
                  <a:pt x="756802" y="617133"/>
                </a:cubicBezTo>
                <a:close/>
                <a:moveTo>
                  <a:pt x="2413082" y="515938"/>
                </a:moveTo>
                <a:cubicBezTo>
                  <a:pt x="2435126" y="515938"/>
                  <a:pt x="2439988" y="544017"/>
                  <a:pt x="2439988" y="565787"/>
                </a:cubicBezTo>
                <a:cubicBezTo>
                  <a:pt x="2439988" y="587872"/>
                  <a:pt x="2435126" y="615951"/>
                  <a:pt x="2413082" y="615951"/>
                </a:cubicBezTo>
                <a:cubicBezTo>
                  <a:pt x="2391200" y="615951"/>
                  <a:pt x="2386013" y="587872"/>
                  <a:pt x="2386013" y="565787"/>
                </a:cubicBezTo>
                <a:cubicBezTo>
                  <a:pt x="2386013" y="544017"/>
                  <a:pt x="2391200" y="515938"/>
                  <a:pt x="2413082" y="515938"/>
                </a:cubicBezTo>
                <a:close/>
                <a:moveTo>
                  <a:pt x="2260681" y="515938"/>
                </a:moveTo>
                <a:cubicBezTo>
                  <a:pt x="2282725" y="515938"/>
                  <a:pt x="2287589" y="544017"/>
                  <a:pt x="2287589" y="565787"/>
                </a:cubicBezTo>
                <a:cubicBezTo>
                  <a:pt x="2287589" y="587872"/>
                  <a:pt x="2282725" y="615951"/>
                  <a:pt x="2260681" y="615951"/>
                </a:cubicBezTo>
                <a:cubicBezTo>
                  <a:pt x="2238800" y="615951"/>
                  <a:pt x="2233613" y="587872"/>
                  <a:pt x="2233613" y="565787"/>
                </a:cubicBezTo>
                <a:cubicBezTo>
                  <a:pt x="2233613" y="544017"/>
                  <a:pt x="2238800" y="515938"/>
                  <a:pt x="2260681" y="515938"/>
                </a:cubicBezTo>
                <a:close/>
                <a:moveTo>
                  <a:pt x="1744183" y="515938"/>
                </a:moveTo>
                <a:cubicBezTo>
                  <a:pt x="1750452" y="515938"/>
                  <a:pt x="1755311" y="517834"/>
                  <a:pt x="1759072" y="521941"/>
                </a:cubicBezTo>
                <a:cubicBezTo>
                  <a:pt x="1767379" y="530947"/>
                  <a:pt x="1768476" y="550063"/>
                  <a:pt x="1768319" y="564756"/>
                </a:cubicBezTo>
                <a:cubicBezTo>
                  <a:pt x="1768476" y="569495"/>
                  <a:pt x="1768476" y="569495"/>
                  <a:pt x="1768476" y="569495"/>
                </a:cubicBezTo>
                <a:cubicBezTo>
                  <a:pt x="1767692" y="589401"/>
                  <a:pt x="1762834" y="614363"/>
                  <a:pt x="1743869" y="614363"/>
                </a:cubicBezTo>
                <a:cubicBezTo>
                  <a:pt x="1738541" y="614363"/>
                  <a:pt x="1734152" y="612467"/>
                  <a:pt x="1730391" y="608518"/>
                </a:cubicBezTo>
                <a:cubicBezTo>
                  <a:pt x="1720203" y="597459"/>
                  <a:pt x="1719263" y="573761"/>
                  <a:pt x="1719263" y="564756"/>
                </a:cubicBezTo>
                <a:cubicBezTo>
                  <a:pt x="1719263" y="542954"/>
                  <a:pt x="1723651" y="515938"/>
                  <a:pt x="1744183" y="515938"/>
                </a:cubicBezTo>
                <a:close/>
                <a:moveTo>
                  <a:pt x="1429235" y="515938"/>
                </a:moveTo>
                <a:cubicBezTo>
                  <a:pt x="1435707" y="515938"/>
                  <a:pt x="1440722" y="517992"/>
                  <a:pt x="1444605" y="521941"/>
                </a:cubicBezTo>
                <a:cubicBezTo>
                  <a:pt x="1453179" y="530947"/>
                  <a:pt x="1454150" y="550063"/>
                  <a:pt x="1454150" y="564756"/>
                </a:cubicBezTo>
                <a:cubicBezTo>
                  <a:pt x="1454150" y="569495"/>
                  <a:pt x="1454150" y="569495"/>
                  <a:pt x="1454150" y="569495"/>
                </a:cubicBezTo>
                <a:cubicBezTo>
                  <a:pt x="1453503" y="589401"/>
                  <a:pt x="1448488" y="614363"/>
                  <a:pt x="1428912" y="614363"/>
                </a:cubicBezTo>
                <a:cubicBezTo>
                  <a:pt x="1423411" y="614363"/>
                  <a:pt x="1418719" y="612467"/>
                  <a:pt x="1414998" y="608518"/>
                </a:cubicBezTo>
                <a:cubicBezTo>
                  <a:pt x="1404482" y="597459"/>
                  <a:pt x="1403350" y="573919"/>
                  <a:pt x="1403512" y="564756"/>
                </a:cubicBezTo>
                <a:cubicBezTo>
                  <a:pt x="1403512" y="543112"/>
                  <a:pt x="1408043" y="515938"/>
                  <a:pt x="1429235" y="515938"/>
                </a:cubicBezTo>
                <a:close/>
                <a:moveTo>
                  <a:pt x="2966948" y="511176"/>
                </a:moveTo>
                <a:cubicBezTo>
                  <a:pt x="2973752" y="511176"/>
                  <a:pt x="2978973" y="513068"/>
                  <a:pt x="2982454" y="516853"/>
                </a:cubicBezTo>
                <a:cubicBezTo>
                  <a:pt x="2986093" y="520796"/>
                  <a:pt x="2987675" y="527577"/>
                  <a:pt x="2987517" y="534989"/>
                </a:cubicBezTo>
                <a:cubicBezTo>
                  <a:pt x="2987200" y="550601"/>
                  <a:pt x="2979922" y="558486"/>
                  <a:pt x="2962834" y="558486"/>
                </a:cubicBezTo>
                <a:cubicBezTo>
                  <a:pt x="2954290" y="558801"/>
                  <a:pt x="2949702" y="558643"/>
                  <a:pt x="2940050" y="557697"/>
                </a:cubicBezTo>
                <a:cubicBezTo>
                  <a:pt x="2940683" y="527261"/>
                  <a:pt x="2949069" y="511176"/>
                  <a:pt x="2966948" y="511176"/>
                </a:cubicBezTo>
                <a:close/>
                <a:moveTo>
                  <a:pt x="2754223" y="511176"/>
                </a:moveTo>
                <a:cubicBezTo>
                  <a:pt x="2761027" y="511176"/>
                  <a:pt x="2766406" y="513068"/>
                  <a:pt x="2769887" y="516853"/>
                </a:cubicBezTo>
                <a:cubicBezTo>
                  <a:pt x="2773368" y="520796"/>
                  <a:pt x="2774950" y="527577"/>
                  <a:pt x="2774792" y="534989"/>
                </a:cubicBezTo>
                <a:cubicBezTo>
                  <a:pt x="2774634" y="550601"/>
                  <a:pt x="2767197" y="558486"/>
                  <a:pt x="2750267" y="558486"/>
                </a:cubicBezTo>
                <a:cubicBezTo>
                  <a:pt x="2741565" y="558801"/>
                  <a:pt x="2737135" y="558643"/>
                  <a:pt x="2727325" y="557697"/>
                </a:cubicBezTo>
                <a:cubicBezTo>
                  <a:pt x="2728116" y="527261"/>
                  <a:pt x="2736344" y="511176"/>
                  <a:pt x="2754223" y="511176"/>
                </a:cubicBezTo>
                <a:close/>
                <a:moveTo>
                  <a:pt x="1900148" y="511176"/>
                </a:moveTo>
                <a:cubicBezTo>
                  <a:pt x="1907110" y="511176"/>
                  <a:pt x="1912331" y="513068"/>
                  <a:pt x="1915812" y="516853"/>
                </a:cubicBezTo>
                <a:cubicBezTo>
                  <a:pt x="1919293" y="520796"/>
                  <a:pt x="1920875" y="527577"/>
                  <a:pt x="1920717" y="534989"/>
                </a:cubicBezTo>
                <a:cubicBezTo>
                  <a:pt x="1920558" y="550601"/>
                  <a:pt x="1913122" y="558486"/>
                  <a:pt x="1896192" y="558486"/>
                </a:cubicBezTo>
                <a:cubicBezTo>
                  <a:pt x="1887490" y="558801"/>
                  <a:pt x="1883060" y="558643"/>
                  <a:pt x="1873250" y="557697"/>
                </a:cubicBezTo>
                <a:cubicBezTo>
                  <a:pt x="1874041" y="527261"/>
                  <a:pt x="1882269" y="511176"/>
                  <a:pt x="1900148" y="511176"/>
                </a:cubicBezTo>
                <a:close/>
                <a:moveTo>
                  <a:pt x="2050803" y="485776"/>
                </a:moveTo>
                <a:cubicBezTo>
                  <a:pt x="2038382" y="485776"/>
                  <a:pt x="2026758" y="491321"/>
                  <a:pt x="2016407" y="502412"/>
                </a:cubicBezTo>
                <a:cubicBezTo>
                  <a:pt x="2016407" y="501937"/>
                  <a:pt x="2016407" y="501937"/>
                  <a:pt x="2016407" y="501937"/>
                </a:cubicBezTo>
                <a:cubicBezTo>
                  <a:pt x="2016407" y="490371"/>
                  <a:pt x="2009401" y="486093"/>
                  <a:pt x="1999368" y="486093"/>
                </a:cubicBezTo>
                <a:cubicBezTo>
                  <a:pt x="1990770" y="486093"/>
                  <a:pt x="1980578" y="487677"/>
                  <a:pt x="1976438" y="489895"/>
                </a:cubicBezTo>
                <a:cubicBezTo>
                  <a:pt x="1978508" y="494015"/>
                  <a:pt x="1979304" y="500827"/>
                  <a:pt x="1979463" y="507323"/>
                </a:cubicBezTo>
                <a:cubicBezTo>
                  <a:pt x="1979304" y="629953"/>
                  <a:pt x="1979304" y="629953"/>
                  <a:pt x="1979304" y="629953"/>
                </a:cubicBezTo>
                <a:cubicBezTo>
                  <a:pt x="1979304" y="641519"/>
                  <a:pt x="1986629" y="645797"/>
                  <a:pt x="1996502" y="645797"/>
                </a:cubicBezTo>
                <a:cubicBezTo>
                  <a:pt x="2005101" y="645797"/>
                  <a:pt x="2013222" y="643737"/>
                  <a:pt x="2017363" y="641519"/>
                </a:cubicBezTo>
                <a:cubicBezTo>
                  <a:pt x="2017363" y="537743"/>
                  <a:pt x="2017363" y="537743"/>
                  <a:pt x="2017363" y="537743"/>
                </a:cubicBezTo>
                <a:cubicBezTo>
                  <a:pt x="2019592" y="529505"/>
                  <a:pt x="2025643" y="518256"/>
                  <a:pt x="2036790" y="518256"/>
                </a:cubicBezTo>
                <a:cubicBezTo>
                  <a:pt x="2041408" y="518256"/>
                  <a:pt x="2045070" y="519840"/>
                  <a:pt x="2047777" y="522850"/>
                </a:cubicBezTo>
                <a:cubicBezTo>
                  <a:pt x="2051918" y="527286"/>
                  <a:pt x="2054147" y="535050"/>
                  <a:pt x="2053988" y="545507"/>
                </a:cubicBezTo>
                <a:cubicBezTo>
                  <a:pt x="2053988" y="629953"/>
                  <a:pt x="2053988" y="629953"/>
                  <a:pt x="2053988" y="629953"/>
                </a:cubicBezTo>
                <a:cubicBezTo>
                  <a:pt x="2053988" y="641519"/>
                  <a:pt x="2061313" y="645797"/>
                  <a:pt x="2071345" y="645797"/>
                </a:cubicBezTo>
                <a:cubicBezTo>
                  <a:pt x="2079944" y="645797"/>
                  <a:pt x="2088065" y="643737"/>
                  <a:pt x="2092365" y="641519"/>
                </a:cubicBezTo>
                <a:cubicBezTo>
                  <a:pt x="2092365" y="537743"/>
                  <a:pt x="2092365" y="537743"/>
                  <a:pt x="2092365" y="537743"/>
                </a:cubicBezTo>
                <a:cubicBezTo>
                  <a:pt x="2094594" y="529505"/>
                  <a:pt x="2100486" y="518256"/>
                  <a:pt x="2111793" y="518256"/>
                </a:cubicBezTo>
                <a:cubicBezTo>
                  <a:pt x="2116252" y="518256"/>
                  <a:pt x="2120072" y="519840"/>
                  <a:pt x="2122779" y="522850"/>
                </a:cubicBezTo>
                <a:cubicBezTo>
                  <a:pt x="2126921" y="527286"/>
                  <a:pt x="2128991" y="535050"/>
                  <a:pt x="2128832" y="545507"/>
                </a:cubicBezTo>
                <a:cubicBezTo>
                  <a:pt x="2128832" y="609357"/>
                  <a:pt x="2128832" y="609357"/>
                  <a:pt x="2128832" y="609357"/>
                </a:cubicBezTo>
                <a:cubicBezTo>
                  <a:pt x="2128832" y="622507"/>
                  <a:pt x="2131061" y="631696"/>
                  <a:pt x="2135838" y="637717"/>
                </a:cubicBezTo>
                <a:cubicBezTo>
                  <a:pt x="2140456" y="643421"/>
                  <a:pt x="2147144" y="646114"/>
                  <a:pt x="2156539" y="646114"/>
                </a:cubicBezTo>
                <a:cubicBezTo>
                  <a:pt x="2173418" y="646114"/>
                  <a:pt x="2182654" y="640093"/>
                  <a:pt x="2182813" y="626943"/>
                </a:cubicBezTo>
                <a:cubicBezTo>
                  <a:pt x="2182813" y="623933"/>
                  <a:pt x="2181858" y="619814"/>
                  <a:pt x="2181062" y="618546"/>
                </a:cubicBezTo>
                <a:cubicBezTo>
                  <a:pt x="2175807" y="618546"/>
                  <a:pt x="2175807" y="618546"/>
                  <a:pt x="2175807" y="618546"/>
                </a:cubicBezTo>
                <a:cubicBezTo>
                  <a:pt x="2172463" y="618546"/>
                  <a:pt x="2170393" y="618229"/>
                  <a:pt x="2169119" y="616962"/>
                </a:cubicBezTo>
                <a:cubicBezTo>
                  <a:pt x="2167367" y="615377"/>
                  <a:pt x="2166571" y="611733"/>
                  <a:pt x="2166730" y="605079"/>
                </a:cubicBezTo>
                <a:cubicBezTo>
                  <a:pt x="2166730" y="548675"/>
                  <a:pt x="2166730" y="548675"/>
                  <a:pt x="2166730" y="548675"/>
                </a:cubicBezTo>
                <a:cubicBezTo>
                  <a:pt x="2166571" y="519365"/>
                  <a:pt x="2161315" y="485776"/>
                  <a:pt x="2120550" y="485776"/>
                </a:cubicBezTo>
                <a:cubicBezTo>
                  <a:pt x="2107016" y="485776"/>
                  <a:pt x="2092365" y="491797"/>
                  <a:pt x="2082651" y="502570"/>
                </a:cubicBezTo>
                <a:cubicBezTo>
                  <a:pt x="2075644" y="491163"/>
                  <a:pt x="2065294" y="485776"/>
                  <a:pt x="2050803" y="485776"/>
                </a:cubicBezTo>
                <a:close/>
                <a:moveTo>
                  <a:pt x="2564195" y="484188"/>
                </a:moveTo>
                <a:cubicBezTo>
                  <a:pt x="2553968" y="484188"/>
                  <a:pt x="2544842" y="488783"/>
                  <a:pt x="2538233" y="497180"/>
                </a:cubicBezTo>
                <a:cubicBezTo>
                  <a:pt x="2536503" y="489416"/>
                  <a:pt x="2530366" y="486406"/>
                  <a:pt x="2522341" y="486406"/>
                </a:cubicBezTo>
                <a:cubicBezTo>
                  <a:pt x="2514159" y="486406"/>
                  <a:pt x="2504404" y="487991"/>
                  <a:pt x="2500313" y="490209"/>
                </a:cubicBezTo>
                <a:cubicBezTo>
                  <a:pt x="2502673" y="494962"/>
                  <a:pt x="2503303" y="503042"/>
                  <a:pt x="2503303" y="510489"/>
                </a:cubicBezTo>
                <a:lnTo>
                  <a:pt x="2503303" y="630269"/>
                </a:lnTo>
                <a:cubicBezTo>
                  <a:pt x="2503303" y="641994"/>
                  <a:pt x="2510541" y="646113"/>
                  <a:pt x="2520296" y="646113"/>
                </a:cubicBezTo>
                <a:cubicBezTo>
                  <a:pt x="2528950" y="646113"/>
                  <a:pt x="2536817" y="644212"/>
                  <a:pt x="2540908" y="641994"/>
                </a:cubicBezTo>
                <a:cubicBezTo>
                  <a:pt x="2540908" y="549465"/>
                  <a:pt x="2540908" y="549465"/>
                  <a:pt x="2540908" y="549465"/>
                </a:cubicBezTo>
                <a:cubicBezTo>
                  <a:pt x="2542324" y="529819"/>
                  <a:pt x="2550978" y="519995"/>
                  <a:pt x="2566083" y="519995"/>
                </a:cubicBezTo>
                <a:cubicBezTo>
                  <a:pt x="2570804" y="519995"/>
                  <a:pt x="2574108" y="521421"/>
                  <a:pt x="2576783" y="522530"/>
                </a:cubicBezTo>
                <a:cubicBezTo>
                  <a:pt x="2578671" y="523164"/>
                  <a:pt x="2581346" y="524432"/>
                  <a:pt x="2582919" y="525224"/>
                </a:cubicBezTo>
                <a:cubicBezTo>
                  <a:pt x="2582919" y="525224"/>
                  <a:pt x="2589056" y="518728"/>
                  <a:pt x="2589213" y="507795"/>
                </a:cubicBezTo>
                <a:cubicBezTo>
                  <a:pt x="2589056" y="495754"/>
                  <a:pt x="2581346" y="484188"/>
                  <a:pt x="2564195" y="484188"/>
                </a:cubicBezTo>
                <a:close/>
                <a:moveTo>
                  <a:pt x="2412207" y="484188"/>
                </a:moveTo>
                <a:cubicBezTo>
                  <a:pt x="2375821" y="484188"/>
                  <a:pt x="2346325" y="520792"/>
                  <a:pt x="2346325" y="565945"/>
                </a:cubicBezTo>
                <a:cubicBezTo>
                  <a:pt x="2346325" y="611098"/>
                  <a:pt x="2375821" y="647702"/>
                  <a:pt x="2412207" y="647702"/>
                </a:cubicBezTo>
                <a:cubicBezTo>
                  <a:pt x="2448593" y="647702"/>
                  <a:pt x="2478089" y="611098"/>
                  <a:pt x="2478089" y="565945"/>
                </a:cubicBezTo>
                <a:cubicBezTo>
                  <a:pt x="2478089" y="520792"/>
                  <a:pt x="2448593" y="484188"/>
                  <a:pt x="2412207" y="484188"/>
                </a:cubicBezTo>
                <a:close/>
                <a:moveTo>
                  <a:pt x="2261395" y="484188"/>
                </a:moveTo>
                <a:cubicBezTo>
                  <a:pt x="2225009" y="484188"/>
                  <a:pt x="2195514" y="520792"/>
                  <a:pt x="2195514" y="565945"/>
                </a:cubicBezTo>
                <a:cubicBezTo>
                  <a:pt x="2195514" y="611098"/>
                  <a:pt x="2225009" y="647702"/>
                  <a:pt x="2261395" y="647702"/>
                </a:cubicBezTo>
                <a:cubicBezTo>
                  <a:pt x="2297781" y="647702"/>
                  <a:pt x="2327278" y="611098"/>
                  <a:pt x="2327278" y="565945"/>
                </a:cubicBezTo>
                <a:cubicBezTo>
                  <a:pt x="2327278" y="520792"/>
                  <a:pt x="2297781" y="484188"/>
                  <a:pt x="2261395" y="484188"/>
                </a:cubicBezTo>
                <a:close/>
                <a:moveTo>
                  <a:pt x="1604487" y="484188"/>
                </a:moveTo>
                <a:cubicBezTo>
                  <a:pt x="1589882" y="484188"/>
                  <a:pt x="1577817" y="489739"/>
                  <a:pt x="1568450" y="500682"/>
                </a:cubicBezTo>
                <a:cubicBezTo>
                  <a:pt x="1567974" y="489897"/>
                  <a:pt x="1561148" y="485933"/>
                  <a:pt x="1551623" y="485933"/>
                </a:cubicBezTo>
                <a:cubicBezTo>
                  <a:pt x="1543050" y="485933"/>
                  <a:pt x="1532890" y="487518"/>
                  <a:pt x="1528763" y="489739"/>
                </a:cubicBezTo>
                <a:cubicBezTo>
                  <a:pt x="1531144" y="494497"/>
                  <a:pt x="1531779" y="502585"/>
                  <a:pt x="1531779" y="510039"/>
                </a:cubicBezTo>
                <a:cubicBezTo>
                  <a:pt x="1531779" y="524788"/>
                  <a:pt x="1531779" y="524788"/>
                  <a:pt x="1531779" y="524788"/>
                </a:cubicBezTo>
                <a:cubicBezTo>
                  <a:pt x="1531779" y="629778"/>
                  <a:pt x="1531779" y="629778"/>
                  <a:pt x="1531779" y="629778"/>
                </a:cubicBezTo>
                <a:cubicBezTo>
                  <a:pt x="1531779" y="641514"/>
                  <a:pt x="1538923" y="645637"/>
                  <a:pt x="1548924" y="645637"/>
                </a:cubicBezTo>
                <a:cubicBezTo>
                  <a:pt x="1557497" y="645637"/>
                  <a:pt x="1565435" y="643734"/>
                  <a:pt x="1569562" y="641514"/>
                </a:cubicBezTo>
                <a:cubicBezTo>
                  <a:pt x="1569562" y="612808"/>
                  <a:pt x="1569562" y="612808"/>
                  <a:pt x="1569562" y="612808"/>
                </a:cubicBezTo>
                <a:cubicBezTo>
                  <a:pt x="1569562" y="536366"/>
                  <a:pt x="1569562" y="536366"/>
                  <a:pt x="1569562" y="536366"/>
                </a:cubicBezTo>
                <a:cubicBezTo>
                  <a:pt x="1574483" y="523044"/>
                  <a:pt x="1581627" y="516858"/>
                  <a:pt x="1592104" y="516858"/>
                </a:cubicBezTo>
                <a:cubicBezTo>
                  <a:pt x="1604010" y="516858"/>
                  <a:pt x="1610520" y="526057"/>
                  <a:pt x="1611313" y="544454"/>
                </a:cubicBezTo>
                <a:cubicBezTo>
                  <a:pt x="1611472" y="609319"/>
                  <a:pt x="1611472" y="609319"/>
                  <a:pt x="1611472" y="609319"/>
                </a:cubicBezTo>
                <a:cubicBezTo>
                  <a:pt x="1611313" y="622482"/>
                  <a:pt x="1613535" y="631681"/>
                  <a:pt x="1618298" y="637708"/>
                </a:cubicBezTo>
                <a:cubicBezTo>
                  <a:pt x="1622902" y="643417"/>
                  <a:pt x="1629728" y="646113"/>
                  <a:pt x="1639094" y="646113"/>
                </a:cubicBezTo>
                <a:cubicBezTo>
                  <a:pt x="1655922" y="646113"/>
                  <a:pt x="1665129" y="640086"/>
                  <a:pt x="1665288" y="626923"/>
                </a:cubicBezTo>
                <a:cubicBezTo>
                  <a:pt x="1665288" y="624068"/>
                  <a:pt x="1664335" y="619786"/>
                  <a:pt x="1663542" y="618518"/>
                </a:cubicBezTo>
                <a:cubicBezTo>
                  <a:pt x="1658303" y="618518"/>
                  <a:pt x="1658303" y="618518"/>
                  <a:pt x="1658303" y="618518"/>
                </a:cubicBezTo>
                <a:cubicBezTo>
                  <a:pt x="1654810" y="618518"/>
                  <a:pt x="1652905" y="618200"/>
                  <a:pt x="1651477" y="616932"/>
                </a:cubicBezTo>
                <a:cubicBezTo>
                  <a:pt x="1649889" y="615346"/>
                  <a:pt x="1649095" y="611698"/>
                  <a:pt x="1649095" y="605037"/>
                </a:cubicBezTo>
                <a:cubicBezTo>
                  <a:pt x="1649095" y="552701"/>
                  <a:pt x="1649095" y="552701"/>
                  <a:pt x="1649095" y="552701"/>
                </a:cubicBezTo>
                <a:cubicBezTo>
                  <a:pt x="1649095" y="520823"/>
                  <a:pt x="1644016" y="484188"/>
                  <a:pt x="1604487" y="484188"/>
                </a:cubicBezTo>
                <a:close/>
                <a:moveTo>
                  <a:pt x="1423198" y="484188"/>
                </a:moveTo>
                <a:cubicBezTo>
                  <a:pt x="1407713" y="484188"/>
                  <a:pt x="1395102" y="489391"/>
                  <a:pt x="1385524" y="499324"/>
                </a:cubicBezTo>
                <a:cubicBezTo>
                  <a:pt x="1368922" y="516983"/>
                  <a:pt x="1365410" y="546625"/>
                  <a:pt x="1365410" y="561445"/>
                </a:cubicBezTo>
                <a:cubicBezTo>
                  <a:pt x="1365250" y="592033"/>
                  <a:pt x="1371795" y="617417"/>
                  <a:pt x="1385844" y="632238"/>
                </a:cubicBezTo>
                <a:cubicBezTo>
                  <a:pt x="1394623" y="641383"/>
                  <a:pt x="1406117" y="646113"/>
                  <a:pt x="1418888" y="646113"/>
                </a:cubicBezTo>
                <a:cubicBezTo>
                  <a:pt x="1435490" y="646113"/>
                  <a:pt x="1448261" y="639176"/>
                  <a:pt x="1455924" y="626720"/>
                </a:cubicBezTo>
                <a:cubicBezTo>
                  <a:pt x="1455924" y="626720"/>
                  <a:pt x="1458478" y="633657"/>
                  <a:pt x="1461511" y="637284"/>
                </a:cubicBezTo>
                <a:cubicBezTo>
                  <a:pt x="1466140" y="642802"/>
                  <a:pt x="1472366" y="645798"/>
                  <a:pt x="1481785" y="645798"/>
                </a:cubicBezTo>
                <a:cubicBezTo>
                  <a:pt x="1498547" y="645798"/>
                  <a:pt x="1507965" y="639806"/>
                  <a:pt x="1508125" y="626720"/>
                </a:cubicBezTo>
                <a:cubicBezTo>
                  <a:pt x="1508125" y="623882"/>
                  <a:pt x="1507007" y="619625"/>
                  <a:pt x="1506209" y="618363"/>
                </a:cubicBezTo>
                <a:cubicBezTo>
                  <a:pt x="1501101" y="618363"/>
                  <a:pt x="1501101" y="618363"/>
                  <a:pt x="1501101" y="618363"/>
                </a:cubicBezTo>
                <a:cubicBezTo>
                  <a:pt x="1497589" y="618363"/>
                  <a:pt x="1495514" y="618048"/>
                  <a:pt x="1494238" y="616787"/>
                </a:cubicBezTo>
                <a:cubicBezTo>
                  <a:pt x="1492640" y="615210"/>
                  <a:pt x="1491842" y="611584"/>
                  <a:pt x="1491842" y="604962"/>
                </a:cubicBezTo>
                <a:cubicBezTo>
                  <a:pt x="1492002" y="487657"/>
                  <a:pt x="1492002" y="487657"/>
                  <a:pt x="1492002" y="487657"/>
                </a:cubicBezTo>
                <a:lnTo>
                  <a:pt x="1472366" y="487657"/>
                </a:lnTo>
                <a:cubicBezTo>
                  <a:pt x="1464225" y="487657"/>
                  <a:pt x="1457520" y="491125"/>
                  <a:pt x="1456404" y="501374"/>
                </a:cubicBezTo>
                <a:cubicBezTo>
                  <a:pt x="1450177" y="492071"/>
                  <a:pt x="1438204" y="484188"/>
                  <a:pt x="1423198" y="484188"/>
                </a:cubicBezTo>
                <a:close/>
                <a:moveTo>
                  <a:pt x="2964431" y="482601"/>
                </a:moveTo>
                <a:cubicBezTo>
                  <a:pt x="2925340" y="482601"/>
                  <a:pt x="2903392" y="510411"/>
                  <a:pt x="2902431" y="560596"/>
                </a:cubicBezTo>
                <a:cubicBezTo>
                  <a:pt x="2901950" y="591123"/>
                  <a:pt x="2908679" y="614138"/>
                  <a:pt x="2922296" y="628842"/>
                </a:cubicBezTo>
                <a:cubicBezTo>
                  <a:pt x="2933992" y="641468"/>
                  <a:pt x="2950333" y="647701"/>
                  <a:pt x="2970839" y="647701"/>
                </a:cubicBezTo>
                <a:cubicBezTo>
                  <a:pt x="2987501" y="647701"/>
                  <a:pt x="3003361" y="643386"/>
                  <a:pt x="3012333" y="636194"/>
                </a:cubicBezTo>
                <a:cubicBezTo>
                  <a:pt x="3018741" y="631079"/>
                  <a:pt x="3020664" y="625166"/>
                  <a:pt x="3020023" y="617973"/>
                </a:cubicBezTo>
                <a:cubicBezTo>
                  <a:pt x="3019542" y="612380"/>
                  <a:pt x="3014576" y="606306"/>
                  <a:pt x="3014576" y="606306"/>
                </a:cubicBezTo>
                <a:cubicBezTo>
                  <a:pt x="3014576" y="606306"/>
                  <a:pt x="3010090" y="608544"/>
                  <a:pt x="3005444" y="609982"/>
                </a:cubicBezTo>
                <a:cubicBezTo>
                  <a:pt x="2997273" y="612539"/>
                  <a:pt x="2985899" y="615736"/>
                  <a:pt x="2974364" y="615736"/>
                </a:cubicBezTo>
                <a:cubicBezTo>
                  <a:pt x="2954818" y="615736"/>
                  <a:pt x="2943604" y="603749"/>
                  <a:pt x="2940560" y="582492"/>
                </a:cubicBezTo>
                <a:cubicBezTo>
                  <a:pt x="2949532" y="583771"/>
                  <a:pt x="2956901" y="583931"/>
                  <a:pt x="2965552" y="583931"/>
                </a:cubicBezTo>
                <a:cubicBezTo>
                  <a:pt x="2999196" y="583931"/>
                  <a:pt x="3022746" y="566829"/>
                  <a:pt x="3023868" y="535983"/>
                </a:cubicBezTo>
                <a:cubicBezTo>
                  <a:pt x="3024188" y="520959"/>
                  <a:pt x="3020984" y="508653"/>
                  <a:pt x="3012333" y="499223"/>
                </a:cubicBezTo>
                <a:cubicBezTo>
                  <a:pt x="3001919" y="487875"/>
                  <a:pt x="2985418" y="482601"/>
                  <a:pt x="2964431" y="482601"/>
                </a:cubicBezTo>
                <a:close/>
                <a:moveTo>
                  <a:pt x="2750894" y="482601"/>
                </a:moveTo>
                <a:cubicBezTo>
                  <a:pt x="2712470" y="482601"/>
                  <a:pt x="2690648" y="510411"/>
                  <a:pt x="2689700" y="560596"/>
                </a:cubicBezTo>
                <a:cubicBezTo>
                  <a:pt x="2689225" y="591123"/>
                  <a:pt x="2695866" y="614138"/>
                  <a:pt x="2709465" y="628842"/>
                </a:cubicBezTo>
                <a:cubicBezTo>
                  <a:pt x="2720850" y="641468"/>
                  <a:pt x="2736979" y="647701"/>
                  <a:pt x="2757219" y="647701"/>
                </a:cubicBezTo>
                <a:cubicBezTo>
                  <a:pt x="2773664" y="647701"/>
                  <a:pt x="2789477" y="643386"/>
                  <a:pt x="2798174" y="636194"/>
                </a:cubicBezTo>
                <a:cubicBezTo>
                  <a:pt x="2804657" y="631079"/>
                  <a:pt x="2806396" y="625166"/>
                  <a:pt x="2805764" y="617973"/>
                </a:cubicBezTo>
                <a:cubicBezTo>
                  <a:pt x="2805289" y="612380"/>
                  <a:pt x="2800388" y="606306"/>
                  <a:pt x="2800388" y="606306"/>
                </a:cubicBezTo>
                <a:cubicBezTo>
                  <a:pt x="2800388" y="606306"/>
                  <a:pt x="2795960" y="608544"/>
                  <a:pt x="2791533" y="609982"/>
                </a:cubicBezTo>
                <a:cubicBezTo>
                  <a:pt x="2783310" y="612539"/>
                  <a:pt x="2772083" y="615736"/>
                  <a:pt x="2760856" y="615736"/>
                </a:cubicBezTo>
                <a:cubicBezTo>
                  <a:pt x="2741565" y="615736"/>
                  <a:pt x="2730338" y="603749"/>
                  <a:pt x="2727333" y="582492"/>
                </a:cubicBezTo>
                <a:cubicBezTo>
                  <a:pt x="2736188" y="583771"/>
                  <a:pt x="2743462" y="583931"/>
                  <a:pt x="2752001" y="583931"/>
                </a:cubicBezTo>
                <a:cubicBezTo>
                  <a:pt x="2785208" y="583931"/>
                  <a:pt x="2808610" y="566829"/>
                  <a:pt x="2809559" y="535983"/>
                </a:cubicBezTo>
                <a:cubicBezTo>
                  <a:pt x="2809875" y="520959"/>
                  <a:pt x="2806871" y="508653"/>
                  <a:pt x="2798332" y="499223"/>
                </a:cubicBezTo>
                <a:cubicBezTo>
                  <a:pt x="2787896" y="487875"/>
                  <a:pt x="2771609" y="482601"/>
                  <a:pt x="2750894" y="482601"/>
                </a:cubicBezTo>
                <a:close/>
                <a:moveTo>
                  <a:pt x="1897631" y="482601"/>
                </a:moveTo>
                <a:cubicBezTo>
                  <a:pt x="1858700" y="482601"/>
                  <a:pt x="1836592" y="510411"/>
                  <a:pt x="1835631" y="560596"/>
                </a:cubicBezTo>
                <a:cubicBezTo>
                  <a:pt x="1835150" y="591123"/>
                  <a:pt x="1841879" y="614138"/>
                  <a:pt x="1855656" y="628842"/>
                </a:cubicBezTo>
                <a:cubicBezTo>
                  <a:pt x="1867191" y="641468"/>
                  <a:pt x="1883532" y="647701"/>
                  <a:pt x="1904039" y="647701"/>
                </a:cubicBezTo>
                <a:cubicBezTo>
                  <a:pt x="1920701" y="647701"/>
                  <a:pt x="1936721" y="643386"/>
                  <a:pt x="1945533" y="636194"/>
                </a:cubicBezTo>
                <a:cubicBezTo>
                  <a:pt x="1952101" y="631079"/>
                  <a:pt x="1953863" y="625166"/>
                  <a:pt x="1953223" y="617973"/>
                </a:cubicBezTo>
                <a:cubicBezTo>
                  <a:pt x="1952742" y="612380"/>
                  <a:pt x="1947776" y="606306"/>
                  <a:pt x="1947776" y="606306"/>
                </a:cubicBezTo>
                <a:cubicBezTo>
                  <a:pt x="1947776" y="606306"/>
                  <a:pt x="1943290" y="608544"/>
                  <a:pt x="1938804" y="609982"/>
                </a:cubicBezTo>
                <a:cubicBezTo>
                  <a:pt x="1930473" y="612539"/>
                  <a:pt x="1919098" y="615736"/>
                  <a:pt x="1907724" y="615736"/>
                </a:cubicBezTo>
                <a:cubicBezTo>
                  <a:pt x="1888178" y="615736"/>
                  <a:pt x="1876804" y="603749"/>
                  <a:pt x="1873760" y="582492"/>
                </a:cubicBezTo>
                <a:cubicBezTo>
                  <a:pt x="1882731" y="583771"/>
                  <a:pt x="1890101" y="583931"/>
                  <a:pt x="1898752" y="583931"/>
                </a:cubicBezTo>
                <a:cubicBezTo>
                  <a:pt x="1932396" y="583931"/>
                  <a:pt x="1956106" y="566829"/>
                  <a:pt x="1957068" y="535983"/>
                </a:cubicBezTo>
                <a:cubicBezTo>
                  <a:pt x="1957388" y="520959"/>
                  <a:pt x="1954344" y="508653"/>
                  <a:pt x="1945693" y="499223"/>
                </a:cubicBezTo>
                <a:cubicBezTo>
                  <a:pt x="1935119" y="487875"/>
                  <a:pt x="1918618" y="482601"/>
                  <a:pt x="1897631" y="482601"/>
                </a:cubicBezTo>
                <a:close/>
                <a:moveTo>
                  <a:pt x="2624027" y="452438"/>
                </a:moveTo>
                <a:cubicBezTo>
                  <a:pt x="2615119" y="452438"/>
                  <a:pt x="2604620" y="454016"/>
                  <a:pt x="2600325" y="456226"/>
                </a:cubicBezTo>
                <a:cubicBezTo>
                  <a:pt x="2602393" y="460172"/>
                  <a:pt x="2603188" y="466644"/>
                  <a:pt x="2603348" y="473116"/>
                </a:cubicBezTo>
                <a:cubicBezTo>
                  <a:pt x="2603348" y="599549"/>
                  <a:pt x="2603348" y="599549"/>
                  <a:pt x="2603348" y="599549"/>
                </a:cubicBezTo>
                <a:cubicBezTo>
                  <a:pt x="2603348" y="629697"/>
                  <a:pt x="2618460" y="646113"/>
                  <a:pt x="2642321" y="646113"/>
                </a:cubicBezTo>
                <a:cubicBezTo>
                  <a:pt x="2667455" y="646113"/>
                  <a:pt x="2678113" y="633012"/>
                  <a:pt x="2676363" y="621016"/>
                </a:cubicBezTo>
                <a:cubicBezTo>
                  <a:pt x="2675250" y="612966"/>
                  <a:pt x="2670796" y="608862"/>
                  <a:pt x="2670796" y="608862"/>
                </a:cubicBezTo>
                <a:cubicBezTo>
                  <a:pt x="2669682" y="609335"/>
                  <a:pt x="2666501" y="610756"/>
                  <a:pt x="2664433" y="611545"/>
                </a:cubicBezTo>
                <a:cubicBezTo>
                  <a:pt x="2661410" y="612650"/>
                  <a:pt x="2656956" y="614071"/>
                  <a:pt x="2652979" y="614071"/>
                </a:cubicBezTo>
                <a:cubicBezTo>
                  <a:pt x="2645344" y="614071"/>
                  <a:pt x="2641685" y="609020"/>
                  <a:pt x="2641367" y="596392"/>
                </a:cubicBezTo>
                <a:cubicBezTo>
                  <a:pt x="2641367" y="519364"/>
                  <a:pt x="2641367" y="519364"/>
                  <a:pt x="2641367" y="519364"/>
                </a:cubicBezTo>
                <a:cubicBezTo>
                  <a:pt x="2660933" y="519364"/>
                  <a:pt x="2660933" y="519364"/>
                  <a:pt x="2660933" y="519364"/>
                </a:cubicBezTo>
                <a:cubicBezTo>
                  <a:pt x="2673500" y="519364"/>
                  <a:pt x="2675886" y="507368"/>
                  <a:pt x="2675886" y="500265"/>
                </a:cubicBezTo>
                <a:cubicBezTo>
                  <a:pt x="2675886" y="495056"/>
                  <a:pt x="2674773" y="490794"/>
                  <a:pt x="2671909" y="488111"/>
                </a:cubicBezTo>
                <a:cubicBezTo>
                  <a:pt x="2641526" y="488111"/>
                  <a:pt x="2641526" y="488111"/>
                  <a:pt x="2641526" y="488111"/>
                </a:cubicBezTo>
                <a:cubicBezTo>
                  <a:pt x="2641526" y="468222"/>
                  <a:pt x="2641526" y="468222"/>
                  <a:pt x="2641526" y="468222"/>
                </a:cubicBezTo>
                <a:cubicBezTo>
                  <a:pt x="2641526" y="456542"/>
                  <a:pt x="2634367" y="452438"/>
                  <a:pt x="2624027" y="452438"/>
                </a:cubicBezTo>
                <a:close/>
                <a:moveTo>
                  <a:pt x="1087844" y="449262"/>
                </a:moveTo>
                <a:cubicBezTo>
                  <a:pt x="1036632" y="465248"/>
                  <a:pt x="993212" y="504026"/>
                  <a:pt x="973650" y="558157"/>
                </a:cubicBezTo>
                <a:cubicBezTo>
                  <a:pt x="954087" y="612287"/>
                  <a:pt x="962676" y="669583"/>
                  <a:pt x="991940" y="714375"/>
                </a:cubicBezTo>
                <a:cubicBezTo>
                  <a:pt x="1042993" y="698389"/>
                  <a:pt x="1086413" y="659612"/>
                  <a:pt x="1105975" y="605640"/>
                </a:cubicBezTo>
                <a:cubicBezTo>
                  <a:pt x="1125538" y="551351"/>
                  <a:pt x="1116950" y="494055"/>
                  <a:pt x="1087844" y="449262"/>
                </a:cubicBezTo>
                <a:close/>
                <a:moveTo>
                  <a:pt x="709466" y="421422"/>
                </a:moveTo>
                <a:cubicBezTo>
                  <a:pt x="704850" y="464242"/>
                  <a:pt x="719971" y="508636"/>
                  <a:pt x="754513" y="540436"/>
                </a:cubicBezTo>
                <a:cubicBezTo>
                  <a:pt x="788895" y="572079"/>
                  <a:pt x="834738" y="584201"/>
                  <a:pt x="878033" y="576959"/>
                </a:cubicBezTo>
                <a:cubicBezTo>
                  <a:pt x="882650" y="534139"/>
                  <a:pt x="867528" y="489902"/>
                  <a:pt x="833146" y="458102"/>
                </a:cubicBezTo>
                <a:cubicBezTo>
                  <a:pt x="798764" y="426302"/>
                  <a:pt x="752762" y="414338"/>
                  <a:pt x="709466" y="421422"/>
                </a:cubicBezTo>
                <a:close/>
                <a:moveTo>
                  <a:pt x="2854785" y="420688"/>
                </a:moveTo>
                <a:cubicBezTo>
                  <a:pt x="2845724" y="420688"/>
                  <a:pt x="2834882" y="422113"/>
                  <a:pt x="2830513" y="424329"/>
                </a:cubicBezTo>
                <a:cubicBezTo>
                  <a:pt x="2833102" y="429078"/>
                  <a:pt x="2833911" y="437152"/>
                  <a:pt x="2833911" y="444592"/>
                </a:cubicBezTo>
                <a:lnTo>
                  <a:pt x="2833911" y="609386"/>
                </a:lnTo>
                <a:cubicBezTo>
                  <a:pt x="2833911" y="622526"/>
                  <a:pt x="2836177" y="631707"/>
                  <a:pt x="2841031" y="637723"/>
                </a:cubicBezTo>
                <a:cubicBezTo>
                  <a:pt x="2845724" y="643422"/>
                  <a:pt x="2852681" y="646113"/>
                  <a:pt x="2862390" y="646113"/>
                </a:cubicBezTo>
                <a:cubicBezTo>
                  <a:pt x="2879542" y="646113"/>
                  <a:pt x="2889089" y="640097"/>
                  <a:pt x="2889251" y="626958"/>
                </a:cubicBezTo>
                <a:cubicBezTo>
                  <a:pt x="2889251" y="624109"/>
                  <a:pt x="2888118" y="619835"/>
                  <a:pt x="2887309" y="618568"/>
                </a:cubicBezTo>
                <a:cubicBezTo>
                  <a:pt x="2881970" y="618568"/>
                  <a:pt x="2881970" y="618568"/>
                  <a:pt x="2881970" y="618568"/>
                </a:cubicBezTo>
                <a:cubicBezTo>
                  <a:pt x="2878410" y="618568"/>
                  <a:pt x="2876468" y="618252"/>
                  <a:pt x="2875012" y="616985"/>
                </a:cubicBezTo>
                <a:cubicBezTo>
                  <a:pt x="2873393" y="615402"/>
                  <a:pt x="2872584" y="611761"/>
                  <a:pt x="2872584" y="605112"/>
                </a:cubicBezTo>
                <a:cubicBezTo>
                  <a:pt x="2872584" y="436518"/>
                  <a:pt x="2872584" y="436518"/>
                  <a:pt x="2872584" y="436518"/>
                </a:cubicBezTo>
                <a:cubicBezTo>
                  <a:pt x="2872584" y="434460"/>
                  <a:pt x="2872423" y="432402"/>
                  <a:pt x="2871937" y="430819"/>
                </a:cubicBezTo>
                <a:cubicBezTo>
                  <a:pt x="2869834" y="423379"/>
                  <a:pt x="2863361" y="420688"/>
                  <a:pt x="2854785" y="420688"/>
                </a:cubicBezTo>
                <a:close/>
                <a:moveTo>
                  <a:pt x="1789652" y="420688"/>
                </a:moveTo>
                <a:cubicBezTo>
                  <a:pt x="1781137" y="420688"/>
                  <a:pt x="1771045" y="422111"/>
                  <a:pt x="1766945" y="424324"/>
                </a:cubicBezTo>
                <a:cubicBezTo>
                  <a:pt x="1769310" y="429066"/>
                  <a:pt x="1769941" y="437129"/>
                  <a:pt x="1769941" y="444558"/>
                </a:cubicBezTo>
                <a:cubicBezTo>
                  <a:pt x="1769941" y="498622"/>
                  <a:pt x="1769941" y="498622"/>
                  <a:pt x="1769941" y="498622"/>
                </a:cubicBezTo>
                <a:cubicBezTo>
                  <a:pt x="1760953" y="488979"/>
                  <a:pt x="1751176" y="483763"/>
                  <a:pt x="1738403" y="483763"/>
                </a:cubicBezTo>
                <a:cubicBezTo>
                  <a:pt x="1723265" y="483763"/>
                  <a:pt x="1710650" y="488821"/>
                  <a:pt x="1701347" y="498939"/>
                </a:cubicBezTo>
                <a:cubicBezTo>
                  <a:pt x="1684790" y="516644"/>
                  <a:pt x="1681322" y="546205"/>
                  <a:pt x="1681322" y="561223"/>
                </a:cubicBezTo>
                <a:cubicBezTo>
                  <a:pt x="1681163" y="591891"/>
                  <a:pt x="1687628" y="617342"/>
                  <a:pt x="1701505" y="632202"/>
                </a:cubicBezTo>
                <a:cubicBezTo>
                  <a:pt x="1710177" y="641371"/>
                  <a:pt x="1721531" y="646113"/>
                  <a:pt x="1734146" y="646113"/>
                </a:cubicBezTo>
                <a:cubicBezTo>
                  <a:pt x="1750545" y="646113"/>
                  <a:pt x="1763003" y="638683"/>
                  <a:pt x="1770729" y="626511"/>
                </a:cubicBezTo>
                <a:cubicBezTo>
                  <a:pt x="1770729" y="626511"/>
                  <a:pt x="1773568" y="633783"/>
                  <a:pt x="1776406" y="637260"/>
                </a:cubicBezTo>
                <a:cubicBezTo>
                  <a:pt x="1781137" y="642793"/>
                  <a:pt x="1787129" y="645639"/>
                  <a:pt x="1796432" y="645639"/>
                </a:cubicBezTo>
                <a:cubicBezTo>
                  <a:pt x="1813147" y="645639"/>
                  <a:pt x="1822293" y="639632"/>
                  <a:pt x="1822451" y="626511"/>
                </a:cubicBezTo>
                <a:cubicBezTo>
                  <a:pt x="1822451" y="623665"/>
                  <a:pt x="1821347" y="619397"/>
                  <a:pt x="1820559" y="618133"/>
                </a:cubicBezTo>
                <a:cubicBezTo>
                  <a:pt x="1815513" y="618133"/>
                  <a:pt x="1815513" y="618133"/>
                  <a:pt x="1815513" y="618133"/>
                </a:cubicBezTo>
                <a:cubicBezTo>
                  <a:pt x="1812044" y="618133"/>
                  <a:pt x="1809994" y="617816"/>
                  <a:pt x="1808732" y="616552"/>
                </a:cubicBezTo>
                <a:cubicBezTo>
                  <a:pt x="1807155" y="614971"/>
                  <a:pt x="1806367" y="611335"/>
                  <a:pt x="1806367" y="604696"/>
                </a:cubicBezTo>
                <a:lnTo>
                  <a:pt x="1806367" y="436338"/>
                </a:lnTo>
                <a:cubicBezTo>
                  <a:pt x="1806367" y="424798"/>
                  <a:pt x="1799586" y="420688"/>
                  <a:pt x="1789652" y="420688"/>
                </a:cubicBezTo>
                <a:close/>
                <a:moveTo>
                  <a:pt x="1346218" y="419100"/>
                </a:moveTo>
                <a:cubicBezTo>
                  <a:pt x="1334165" y="419100"/>
                  <a:pt x="1325125" y="421952"/>
                  <a:pt x="1325125" y="421952"/>
                </a:cubicBezTo>
                <a:cubicBezTo>
                  <a:pt x="1299274" y="531733"/>
                  <a:pt x="1299274" y="531733"/>
                  <a:pt x="1299274" y="531733"/>
                </a:cubicBezTo>
                <a:cubicBezTo>
                  <a:pt x="1296261" y="543139"/>
                  <a:pt x="1289441" y="575139"/>
                  <a:pt x="1286586" y="593040"/>
                </a:cubicBezTo>
                <a:cubicBezTo>
                  <a:pt x="1283573" y="574506"/>
                  <a:pt x="1277071" y="543931"/>
                  <a:pt x="1273899" y="531258"/>
                </a:cubicBezTo>
                <a:cubicBezTo>
                  <a:pt x="1251696" y="436843"/>
                  <a:pt x="1251696" y="436843"/>
                  <a:pt x="1251696" y="436843"/>
                </a:cubicBezTo>
                <a:cubicBezTo>
                  <a:pt x="1248999" y="425278"/>
                  <a:pt x="1242338" y="419734"/>
                  <a:pt x="1231078" y="419734"/>
                </a:cubicBezTo>
                <a:cubicBezTo>
                  <a:pt x="1216329" y="419734"/>
                  <a:pt x="1206337" y="426070"/>
                  <a:pt x="1203324" y="428288"/>
                </a:cubicBezTo>
                <a:cubicBezTo>
                  <a:pt x="1206496" y="432565"/>
                  <a:pt x="1208875" y="436843"/>
                  <a:pt x="1212364" y="449041"/>
                </a:cubicBezTo>
                <a:cubicBezTo>
                  <a:pt x="1258356" y="624565"/>
                  <a:pt x="1258356" y="624565"/>
                  <a:pt x="1258356" y="624565"/>
                </a:cubicBezTo>
                <a:cubicBezTo>
                  <a:pt x="1262004" y="638505"/>
                  <a:pt x="1267714" y="644367"/>
                  <a:pt x="1277705" y="644367"/>
                </a:cubicBezTo>
                <a:cubicBezTo>
                  <a:pt x="1287538" y="644367"/>
                  <a:pt x="1296736" y="644525"/>
                  <a:pt x="1309107" y="638664"/>
                </a:cubicBezTo>
                <a:cubicBezTo>
                  <a:pt x="1361284" y="439536"/>
                  <a:pt x="1361284" y="439536"/>
                  <a:pt x="1361284" y="439536"/>
                </a:cubicBezTo>
                <a:cubicBezTo>
                  <a:pt x="1365249" y="425278"/>
                  <a:pt x="1356844" y="419100"/>
                  <a:pt x="1346218" y="419100"/>
                </a:cubicBezTo>
                <a:close/>
                <a:moveTo>
                  <a:pt x="975229" y="306387"/>
                </a:moveTo>
                <a:cubicBezTo>
                  <a:pt x="940321" y="322503"/>
                  <a:pt x="913118" y="354259"/>
                  <a:pt x="904312" y="394705"/>
                </a:cubicBezTo>
                <a:cubicBezTo>
                  <a:pt x="895349" y="435309"/>
                  <a:pt x="906671" y="475439"/>
                  <a:pt x="931358" y="504825"/>
                </a:cubicBezTo>
                <a:cubicBezTo>
                  <a:pt x="966266" y="488710"/>
                  <a:pt x="993312" y="457112"/>
                  <a:pt x="1002274" y="416666"/>
                </a:cubicBezTo>
                <a:cubicBezTo>
                  <a:pt x="1011237" y="376062"/>
                  <a:pt x="999916" y="335774"/>
                  <a:pt x="975229" y="306387"/>
                </a:cubicBezTo>
                <a:close/>
                <a:moveTo>
                  <a:pt x="0" y="0"/>
                </a:moveTo>
                <a:lnTo>
                  <a:pt x="9143999" y="0"/>
                </a:lnTo>
                <a:lnTo>
                  <a:pt x="9143999" y="6857999"/>
                </a:lnTo>
                <a:lnTo>
                  <a:pt x="0" y="6857999"/>
                </a:lnTo>
                <a:close/>
              </a:path>
            </a:pathLst>
          </a:custGeom>
        </p:spPr>
        <p:txBody>
          <a:bodyPr wrap="square">
            <a:noAutofit/>
          </a:bodyPr>
          <a:lstStyle>
            <a:lvl1pPr marL="0" indent="0">
              <a:buNone/>
              <a:defRPr/>
            </a:lvl1pPr>
          </a:lstStyle>
          <a:p>
            <a:r>
              <a:rPr lang="en-GB"/>
              <a:t>[Image]</a:t>
            </a:r>
          </a:p>
        </p:txBody>
      </p:sp>
      <p:sp>
        <p:nvSpPr>
          <p:cNvPr id="7" name="Tijdelijke aanduiding voor tekst 6"/>
          <p:cNvSpPr>
            <a:spLocks noGrp="1" noSelect="1"/>
          </p:cNvSpPr>
          <p:nvPr>
            <p:ph type="body" sz="quarter" idx="11" hasCustomPrompt="1"/>
          </p:nvPr>
        </p:nvSpPr>
        <p:spPr bwMode="gray">
          <a:xfrm>
            <a:off x="604183" y="2642593"/>
            <a:ext cx="6258465" cy="887040"/>
          </a:xfrm>
        </p:spPr>
        <p:txBody>
          <a:bodyPr/>
          <a:lstStyle>
            <a:lvl1pPr marL="0" indent="0">
              <a:lnSpc>
                <a:spcPct val="100000"/>
              </a:lnSpc>
              <a:spcBef>
                <a:spcPts val="0"/>
              </a:spcBef>
              <a:spcAft>
                <a:spcPts val="0"/>
              </a:spcAft>
              <a:buNone/>
              <a:defRPr sz="2380" baseline="0"/>
            </a:lvl1pPr>
            <a:lvl2pPr marL="0" indent="0">
              <a:lnSpc>
                <a:spcPct val="100000"/>
              </a:lnSpc>
              <a:spcBef>
                <a:spcPts val="0"/>
              </a:spcBef>
              <a:spcAft>
                <a:spcPts val="0"/>
              </a:spcAft>
              <a:buNone/>
              <a:defRPr sz="2678"/>
            </a:lvl2pPr>
            <a:lvl3pPr marL="0" indent="0">
              <a:lnSpc>
                <a:spcPct val="100000"/>
              </a:lnSpc>
              <a:spcBef>
                <a:spcPts val="0"/>
              </a:spcBef>
              <a:spcAft>
                <a:spcPts val="0"/>
              </a:spcAft>
              <a:buNone/>
              <a:defRPr sz="2678"/>
            </a:lvl3pPr>
            <a:lvl4pPr marL="0" indent="0">
              <a:lnSpc>
                <a:spcPct val="100000"/>
              </a:lnSpc>
              <a:spcBef>
                <a:spcPts val="0"/>
              </a:spcBef>
              <a:spcAft>
                <a:spcPts val="0"/>
              </a:spcAft>
              <a:buFont typeface="Arial" panose="020B0604020202020204" pitchFamily="34" charset="0"/>
              <a:buNone/>
              <a:defRPr sz="2678"/>
            </a:lvl4pPr>
            <a:lvl5pPr marL="0" indent="0">
              <a:lnSpc>
                <a:spcPct val="100000"/>
              </a:lnSpc>
              <a:spcBef>
                <a:spcPts val="0"/>
              </a:spcBef>
              <a:spcAft>
                <a:spcPts val="0"/>
              </a:spcAft>
              <a:buFont typeface="Arial" panose="020B0604020202020204" pitchFamily="34" charset="0"/>
              <a:buNone/>
              <a:defRPr sz="2678"/>
            </a:lvl5pPr>
            <a:lvl6pPr marL="0" indent="0">
              <a:lnSpc>
                <a:spcPct val="100000"/>
              </a:lnSpc>
              <a:spcBef>
                <a:spcPts val="0"/>
              </a:spcBef>
              <a:spcAft>
                <a:spcPts val="0"/>
              </a:spcAft>
              <a:buFont typeface="Arial" panose="020B0604020202020204" pitchFamily="34" charset="0"/>
              <a:buNone/>
              <a:defRPr sz="2678"/>
            </a:lvl6pPr>
            <a:lvl7pPr marL="0" indent="0">
              <a:lnSpc>
                <a:spcPct val="100000"/>
              </a:lnSpc>
              <a:spcBef>
                <a:spcPts val="0"/>
              </a:spcBef>
              <a:spcAft>
                <a:spcPts val="0"/>
              </a:spcAft>
              <a:buFont typeface="Arial" panose="020B0604020202020204" pitchFamily="34" charset="0"/>
              <a:buNone/>
              <a:defRPr sz="2678"/>
            </a:lvl7pPr>
            <a:lvl8pPr marL="0" indent="0">
              <a:lnSpc>
                <a:spcPct val="100000"/>
              </a:lnSpc>
              <a:spcBef>
                <a:spcPts val="0"/>
              </a:spcBef>
              <a:spcAft>
                <a:spcPts val="0"/>
              </a:spcAft>
              <a:buFont typeface="Arial" panose="020B0604020202020204" pitchFamily="34" charset="0"/>
              <a:buNone/>
              <a:defRPr sz="2678"/>
            </a:lvl8pPr>
            <a:lvl9pPr marL="0" indent="0">
              <a:lnSpc>
                <a:spcPct val="100000"/>
              </a:lnSpc>
              <a:spcBef>
                <a:spcPts val="0"/>
              </a:spcBef>
              <a:spcAft>
                <a:spcPts val="0"/>
              </a:spcAft>
              <a:buFont typeface="Arial" panose="020B0604020202020204" pitchFamily="34" charset="0"/>
              <a:buNone/>
              <a:defRPr sz="2678"/>
            </a:lvl9pPr>
          </a:lstStyle>
          <a:p>
            <a:pPr lvl="0"/>
            <a:r>
              <a:rPr lang="en-GB"/>
              <a:t>[Title]</a:t>
            </a:r>
          </a:p>
        </p:txBody>
      </p:sp>
      <p:sp>
        <p:nvSpPr>
          <p:cNvPr id="80" name="***Titel Caption"/>
          <p:cNvSpPr>
            <a:spLocks noGrp="1" noSelect="1"/>
          </p:cNvSpPr>
          <p:nvPr>
            <p:ph type="title" hasCustomPrompt="1"/>
          </p:nvPr>
        </p:nvSpPr>
        <p:spPr bwMode="gray">
          <a:xfrm>
            <a:off x="612000" y="1208744"/>
            <a:ext cx="5100435" cy="824233"/>
          </a:xfrm>
        </p:spPr>
        <p:txBody>
          <a:bodyPr/>
          <a:lstStyle>
            <a:lvl1pPr>
              <a:defRPr spc="140" baseline="0">
                <a:solidFill>
                  <a:schemeClr val="tx1"/>
                </a:solidFill>
              </a:defRPr>
            </a:lvl1pPr>
          </a:lstStyle>
          <a:p>
            <a:r>
              <a:rPr lang="en-GB"/>
              <a:t>[caption]</a:t>
            </a:r>
          </a:p>
        </p:txBody>
      </p:sp>
      <p:sp>
        <p:nvSpPr>
          <p:cNvPr id="15" name="Streep (PHJU)"/>
          <p:cNvSpPr>
            <a:spLocks noGrp="1" noSelect="1"/>
          </p:cNvSpPr>
          <p:nvPr>
            <p:ph type="body" idx="1002" hasCustomPrompt="1"/>
          </p:nvPr>
        </p:nvSpPr>
        <p:spPr bwMode="gray">
          <a:xfrm>
            <a:off x="604520" y="2233449"/>
            <a:ext cx="1209040" cy="528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Tree>
    <p:extLst>
      <p:ext uri="{BB962C8B-B14F-4D97-AF65-F5344CB8AC3E}">
        <p14:creationId xmlns:p14="http://schemas.microsoft.com/office/powerpoint/2010/main" val="32746505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text, 1 image ">
    <p:spTree>
      <p:nvGrpSpPr>
        <p:cNvPr id="1" name=""/>
        <p:cNvGrpSpPr/>
        <p:nvPr/>
      </p:nvGrpSpPr>
      <p:grpSpPr>
        <a:xfrm>
          <a:off x="0" y="0"/>
          <a:ext cx="0" cy="0"/>
          <a:chOff x="0" y="0"/>
          <a:chExt cx="0" cy="0"/>
        </a:xfrm>
      </p:grpSpPr>
      <p:sp>
        <p:nvSpPr>
          <p:cNvPr id="23" name="Tijdelijke aanduiding voor afbeelding 3"/>
          <p:cNvSpPr>
            <a:spLocks noGrp="1" noSelect="1"/>
          </p:cNvSpPr>
          <p:nvPr>
            <p:ph type="pic" sz="quarter" idx="18" hasCustomPrompt="1"/>
          </p:nvPr>
        </p:nvSpPr>
        <p:spPr bwMode="gray">
          <a:xfrm>
            <a:off x="4069800" y="0"/>
            <a:ext cx="3702600" cy="10058400"/>
          </a:xfrm>
          <a:solidFill>
            <a:schemeClr val="accent6"/>
          </a:solidFill>
        </p:spPr>
        <p:txBody>
          <a:bodyPr/>
          <a:lstStyle>
            <a:lvl1pPr marL="0" indent="0">
              <a:buNone/>
              <a:defRPr/>
            </a:lvl1pPr>
          </a:lstStyle>
          <a:p>
            <a:r>
              <a:rPr lang="en-GB"/>
              <a:t>[Click on icon to insert picture]</a:t>
            </a:r>
          </a:p>
        </p:txBody>
      </p:sp>
      <p:sp>
        <p:nvSpPr>
          <p:cNvPr id="2" name="***Tijdelijke aanduiding voor voettekst 1"/>
          <p:cNvSpPr>
            <a:spLocks noGrp="1" noSelect="1"/>
          </p:cNvSpPr>
          <p:nvPr>
            <p:ph type="ftr" sz="quarter" idx="19"/>
          </p:nvPr>
        </p:nvSpPr>
        <p:spPr bwMode="gray">
          <a:xfrm>
            <a:off x="629673" y="337920"/>
            <a:ext cx="3281850" cy="718458"/>
          </a:xfrm>
        </p:spPr>
        <p:txBody>
          <a:bodyPr/>
          <a:lstStyle/>
          <a:p>
            <a:endParaRPr lang="en-US"/>
          </a:p>
        </p:txBody>
      </p:sp>
      <p:sp>
        <p:nvSpPr>
          <p:cNvPr id="17" name="***Tijdelijke aanduiding voor tekst 17"/>
          <p:cNvSpPr>
            <a:spLocks noGrp="1" noSelect="1"/>
          </p:cNvSpPr>
          <p:nvPr>
            <p:ph type="body" sz="quarter" idx="21" hasCustomPrompt="1"/>
          </p:nvPr>
        </p:nvSpPr>
        <p:spPr bwMode="gray">
          <a:xfrm>
            <a:off x="612000" y="2692800"/>
            <a:ext cx="3060000" cy="5702400"/>
          </a:xfrm>
        </p:spPr>
        <p:txBody>
          <a:bodyPr/>
          <a:lstStyle>
            <a:lvl1pPr>
              <a:defRPr/>
            </a:lvl1pPr>
          </a:lstStyle>
          <a:p>
            <a:pPr lvl="0"/>
            <a:r>
              <a:rPr lang="en-GB"/>
              <a:t>[Text]</a:t>
            </a:r>
          </a:p>
        </p:txBody>
      </p:sp>
      <p:sp>
        <p:nvSpPr>
          <p:cNvPr id="6" name="Titel 5"/>
          <p:cNvSpPr>
            <a:spLocks noGrp="1" noSelect="1"/>
          </p:cNvSpPr>
          <p:nvPr>
            <p:ph type="title" hasCustomPrompt="1"/>
          </p:nvPr>
        </p:nvSpPr>
        <p:spPr bwMode="gray">
          <a:xfrm>
            <a:off x="612000" y="1016209"/>
            <a:ext cx="3274200" cy="1056000"/>
          </a:xfrm>
        </p:spPr>
        <p:txBody>
          <a:bodyPr/>
          <a:lstStyle>
            <a:lvl1pPr>
              <a:defRPr/>
            </a:lvl1pPr>
          </a:lstStyle>
          <a:p>
            <a:r>
              <a:rPr lang="en-GB" noProof="1"/>
              <a:t>[Title]</a:t>
            </a:r>
            <a:endParaRPr lang="en-GB"/>
          </a:p>
        </p:txBody>
      </p:sp>
      <p:sp>
        <p:nvSpPr>
          <p:cNvPr id="8" name="Streep (PHJU)"/>
          <p:cNvSpPr>
            <a:spLocks noGrp="1" noSelect="1"/>
          </p:cNvSpPr>
          <p:nvPr>
            <p:ph type="body" idx="1003" hasCustomPrompt="1"/>
          </p:nvPr>
        </p:nvSpPr>
        <p:spPr bwMode="gray">
          <a:xfrm>
            <a:off x="604520" y="2233449"/>
            <a:ext cx="1209040" cy="52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
        <p:nvSpPr>
          <p:cNvPr id="3" name="Tijdelijke aanduiding voor dianummer 2"/>
          <p:cNvSpPr>
            <a:spLocks noGrp="1" noSelect="1"/>
          </p:cNvSpPr>
          <p:nvPr>
            <p:ph type="sldNum" sz="quarter" idx="20"/>
          </p:nvPr>
        </p:nvSpPr>
        <p:spPr bwMode="gray"/>
        <p:txBody>
          <a:bodyPr/>
          <a:lstStyle/>
          <a:p>
            <a:fld id="{ADECF1AC-24A7-42A4-9FAC-3CE63B9FFA68}" type="slidenum">
              <a:rPr lang="en-US" smtClean="0"/>
              <a:t>‹#›</a:t>
            </a:fld>
            <a:endParaRPr lang="en-US"/>
          </a:p>
        </p:txBody>
      </p:sp>
    </p:spTree>
    <p:extLst>
      <p:ext uri="{BB962C8B-B14F-4D97-AF65-F5344CB8AC3E}">
        <p14:creationId xmlns:p14="http://schemas.microsoft.com/office/powerpoint/2010/main" val="11876897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text, 2 small, 1 large image">
    <p:spTree>
      <p:nvGrpSpPr>
        <p:cNvPr id="1" name=""/>
        <p:cNvGrpSpPr/>
        <p:nvPr/>
      </p:nvGrpSpPr>
      <p:grpSpPr>
        <a:xfrm>
          <a:off x="0" y="0"/>
          <a:ext cx="0" cy="0"/>
          <a:chOff x="0" y="0"/>
          <a:chExt cx="0" cy="0"/>
        </a:xfrm>
      </p:grpSpPr>
      <p:sp>
        <p:nvSpPr>
          <p:cNvPr id="23" name="Tijdelijke aanduiding voor afbeelding 3"/>
          <p:cNvSpPr>
            <a:spLocks noGrp="1" noSelect="1"/>
          </p:cNvSpPr>
          <p:nvPr>
            <p:ph type="pic" sz="quarter" idx="18" hasCustomPrompt="1"/>
          </p:nvPr>
        </p:nvSpPr>
        <p:spPr bwMode="gray">
          <a:xfrm>
            <a:off x="4069800" y="3527039"/>
            <a:ext cx="3702600" cy="6531360"/>
          </a:xfrm>
          <a:solidFill>
            <a:schemeClr val="accent6"/>
          </a:solidFill>
        </p:spPr>
        <p:txBody>
          <a:bodyPr/>
          <a:lstStyle>
            <a:lvl1pPr marL="0" indent="0">
              <a:buNone/>
              <a:defRPr/>
            </a:lvl1pPr>
          </a:lstStyle>
          <a:p>
            <a:r>
              <a:rPr lang="en-GB"/>
              <a:t>[Click on icon to insert picture]</a:t>
            </a:r>
          </a:p>
        </p:txBody>
      </p:sp>
      <p:sp>
        <p:nvSpPr>
          <p:cNvPr id="17" name="Tijdelijke aanduiding voor afbeelding 3"/>
          <p:cNvSpPr>
            <a:spLocks noGrp="1" noSelect="1"/>
          </p:cNvSpPr>
          <p:nvPr>
            <p:ph type="pic" sz="quarter" idx="19" hasCustomPrompt="1"/>
          </p:nvPr>
        </p:nvSpPr>
        <p:spPr bwMode="gray">
          <a:xfrm>
            <a:off x="4069800" y="0"/>
            <a:ext cx="1817640" cy="3405600"/>
          </a:xfrm>
          <a:solidFill>
            <a:schemeClr val="accent6"/>
          </a:solidFill>
        </p:spPr>
        <p:txBody>
          <a:bodyPr/>
          <a:lstStyle>
            <a:lvl1pPr marL="0" indent="0">
              <a:buNone/>
              <a:defRPr/>
            </a:lvl1pPr>
          </a:lstStyle>
          <a:p>
            <a:r>
              <a:rPr lang="en-GB"/>
              <a:t>[Click on icon to insert picture]</a:t>
            </a:r>
          </a:p>
        </p:txBody>
      </p:sp>
      <p:sp>
        <p:nvSpPr>
          <p:cNvPr id="22" name="Tijdelijke aanduiding voor afbeelding 3"/>
          <p:cNvSpPr>
            <a:spLocks noGrp="1" noSelect="1"/>
          </p:cNvSpPr>
          <p:nvPr>
            <p:ph type="pic" sz="quarter" idx="20" hasCustomPrompt="1"/>
          </p:nvPr>
        </p:nvSpPr>
        <p:spPr bwMode="gray">
          <a:xfrm>
            <a:off x="5954760" y="0"/>
            <a:ext cx="1817640" cy="3405600"/>
          </a:xfrm>
          <a:solidFill>
            <a:schemeClr val="accent6"/>
          </a:solidFill>
        </p:spPr>
        <p:txBody>
          <a:bodyPr/>
          <a:lstStyle>
            <a:lvl1pPr marL="0" indent="0">
              <a:buNone/>
              <a:defRPr/>
            </a:lvl1pPr>
          </a:lstStyle>
          <a:p>
            <a:r>
              <a:rPr lang="en-GB"/>
              <a:t>[Click on icon to insert picture]</a:t>
            </a:r>
          </a:p>
        </p:txBody>
      </p:sp>
      <p:sp>
        <p:nvSpPr>
          <p:cNvPr id="2" name="***Tijdelijke aanduiding voor voettekst 1"/>
          <p:cNvSpPr>
            <a:spLocks noGrp="1" noSelect="1"/>
          </p:cNvSpPr>
          <p:nvPr>
            <p:ph type="ftr" sz="quarter" idx="21"/>
          </p:nvPr>
        </p:nvSpPr>
        <p:spPr bwMode="gray">
          <a:xfrm>
            <a:off x="629673" y="337920"/>
            <a:ext cx="3281850" cy="718458"/>
          </a:xfrm>
        </p:spPr>
        <p:txBody>
          <a:bodyPr/>
          <a:lstStyle/>
          <a:p>
            <a:endParaRPr lang="en-US"/>
          </a:p>
        </p:txBody>
      </p:sp>
      <p:sp>
        <p:nvSpPr>
          <p:cNvPr id="18" name="***Tijdelijke aanduiding voor tekst 17"/>
          <p:cNvSpPr>
            <a:spLocks noGrp="1" noSelect="1"/>
          </p:cNvSpPr>
          <p:nvPr>
            <p:ph type="body" sz="quarter" idx="23" hasCustomPrompt="1"/>
          </p:nvPr>
        </p:nvSpPr>
        <p:spPr bwMode="gray">
          <a:xfrm>
            <a:off x="612000" y="2692800"/>
            <a:ext cx="3060000" cy="5702400"/>
          </a:xfrm>
        </p:spPr>
        <p:txBody>
          <a:bodyPr/>
          <a:lstStyle>
            <a:lvl1pPr>
              <a:defRPr/>
            </a:lvl1pPr>
          </a:lstStyle>
          <a:p>
            <a:pPr lvl="0"/>
            <a:r>
              <a:rPr lang="en-GB"/>
              <a:t>[Text]</a:t>
            </a:r>
          </a:p>
        </p:txBody>
      </p:sp>
      <p:sp>
        <p:nvSpPr>
          <p:cNvPr id="6" name="Titel 5"/>
          <p:cNvSpPr>
            <a:spLocks noGrp="1" noSelect="1"/>
          </p:cNvSpPr>
          <p:nvPr>
            <p:ph type="title" hasCustomPrompt="1"/>
          </p:nvPr>
        </p:nvSpPr>
        <p:spPr bwMode="gray">
          <a:xfrm>
            <a:off x="612000" y="1016209"/>
            <a:ext cx="3274200" cy="1056000"/>
          </a:xfrm>
        </p:spPr>
        <p:txBody>
          <a:bodyPr/>
          <a:lstStyle>
            <a:lvl1pPr>
              <a:defRPr/>
            </a:lvl1pPr>
          </a:lstStyle>
          <a:p>
            <a:r>
              <a:rPr lang="en-GB" noProof="1"/>
              <a:t>[Title]</a:t>
            </a:r>
            <a:endParaRPr lang="en-GB"/>
          </a:p>
        </p:txBody>
      </p:sp>
      <p:sp>
        <p:nvSpPr>
          <p:cNvPr id="10" name="Streep (PHJU)"/>
          <p:cNvSpPr>
            <a:spLocks noGrp="1" noSelect="1"/>
          </p:cNvSpPr>
          <p:nvPr>
            <p:ph type="body" idx="1003" hasCustomPrompt="1"/>
          </p:nvPr>
        </p:nvSpPr>
        <p:spPr bwMode="gray">
          <a:xfrm>
            <a:off x="604520" y="2233449"/>
            <a:ext cx="1209040" cy="52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
        <p:nvSpPr>
          <p:cNvPr id="3" name="Tijdelijke aanduiding voor dianummer 2"/>
          <p:cNvSpPr>
            <a:spLocks noGrp="1" noSelect="1"/>
          </p:cNvSpPr>
          <p:nvPr>
            <p:ph type="sldNum" sz="quarter" idx="22"/>
          </p:nvPr>
        </p:nvSpPr>
        <p:spPr bwMode="gray"/>
        <p:txBody>
          <a:bodyPr/>
          <a:lstStyle/>
          <a:p>
            <a:fld id="{ADECF1AC-24A7-42A4-9FAC-3CE63B9FFA68}" type="slidenum">
              <a:rPr lang="en-US" smtClean="0"/>
              <a:t>‹#›</a:t>
            </a:fld>
            <a:endParaRPr lang="en-US"/>
          </a:p>
        </p:txBody>
      </p:sp>
    </p:spTree>
    <p:extLst>
      <p:ext uri="{BB962C8B-B14F-4D97-AF65-F5344CB8AC3E}">
        <p14:creationId xmlns:p14="http://schemas.microsoft.com/office/powerpoint/2010/main" val="27313837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4 images, large left">
    <p:spTree>
      <p:nvGrpSpPr>
        <p:cNvPr id="1" name=""/>
        <p:cNvGrpSpPr/>
        <p:nvPr/>
      </p:nvGrpSpPr>
      <p:grpSpPr>
        <a:xfrm>
          <a:off x="0" y="0"/>
          <a:ext cx="0" cy="0"/>
          <a:chOff x="0" y="0"/>
          <a:chExt cx="0" cy="0"/>
        </a:xfrm>
      </p:grpSpPr>
      <p:sp>
        <p:nvSpPr>
          <p:cNvPr id="23" name="Tijdelijke aanduiding voor afbeelding 3"/>
          <p:cNvSpPr>
            <a:spLocks noGrp="1" noSelect="1"/>
          </p:cNvSpPr>
          <p:nvPr>
            <p:ph type="pic" sz="quarter" idx="18" hasCustomPrompt="1"/>
          </p:nvPr>
        </p:nvSpPr>
        <p:spPr bwMode="gray">
          <a:xfrm>
            <a:off x="4069800" y="3527040"/>
            <a:ext cx="3702600" cy="6531360"/>
          </a:xfrm>
          <a:solidFill>
            <a:schemeClr val="accent6"/>
          </a:solidFill>
        </p:spPr>
        <p:txBody>
          <a:bodyPr/>
          <a:lstStyle>
            <a:lvl1pPr marL="0" indent="0">
              <a:buNone/>
              <a:defRPr/>
            </a:lvl1pPr>
          </a:lstStyle>
          <a:p>
            <a:r>
              <a:rPr lang="en-GB"/>
              <a:t>[Click on icon to insert picture]</a:t>
            </a:r>
          </a:p>
        </p:txBody>
      </p:sp>
      <p:sp>
        <p:nvSpPr>
          <p:cNvPr id="17" name="Tijdelijke aanduiding voor afbeelding 3"/>
          <p:cNvSpPr>
            <a:spLocks noGrp="1" noSelect="1"/>
          </p:cNvSpPr>
          <p:nvPr>
            <p:ph type="pic" sz="quarter" idx="19" hasCustomPrompt="1"/>
          </p:nvPr>
        </p:nvSpPr>
        <p:spPr bwMode="gray">
          <a:xfrm>
            <a:off x="4069800" y="0"/>
            <a:ext cx="1817640" cy="3405600"/>
          </a:xfrm>
          <a:solidFill>
            <a:schemeClr val="accent6"/>
          </a:solidFill>
        </p:spPr>
        <p:txBody>
          <a:bodyPr/>
          <a:lstStyle>
            <a:lvl1pPr marL="0" indent="0">
              <a:buNone/>
              <a:defRPr/>
            </a:lvl1pPr>
          </a:lstStyle>
          <a:p>
            <a:r>
              <a:rPr lang="en-GB"/>
              <a:t>[Click on icon to insert picture]</a:t>
            </a:r>
          </a:p>
        </p:txBody>
      </p:sp>
      <p:sp>
        <p:nvSpPr>
          <p:cNvPr id="22" name="Tijdelijke aanduiding voor afbeelding 3"/>
          <p:cNvSpPr>
            <a:spLocks noGrp="1" noSelect="1"/>
          </p:cNvSpPr>
          <p:nvPr>
            <p:ph type="pic" sz="quarter" idx="20" hasCustomPrompt="1"/>
          </p:nvPr>
        </p:nvSpPr>
        <p:spPr bwMode="gray">
          <a:xfrm>
            <a:off x="5954760" y="0"/>
            <a:ext cx="1817640" cy="3405600"/>
          </a:xfrm>
          <a:solidFill>
            <a:schemeClr val="accent6"/>
          </a:solidFill>
        </p:spPr>
        <p:txBody>
          <a:bodyPr/>
          <a:lstStyle>
            <a:lvl1pPr marL="0" indent="0">
              <a:buNone/>
              <a:defRPr/>
            </a:lvl1pPr>
          </a:lstStyle>
          <a:p>
            <a:r>
              <a:rPr lang="en-GB"/>
              <a:t>[Click on icon to insert picture]</a:t>
            </a:r>
          </a:p>
        </p:txBody>
      </p:sp>
      <p:sp>
        <p:nvSpPr>
          <p:cNvPr id="18" name="Tijdelijke aanduiding voor afbeelding 3"/>
          <p:cNvSpPr>
            <a:spLocks noGrp="1" noSelect="1"/>
          </p:cNvSpPr>
          <p:nvPr>
            <p:ph type="pic" sz="quarter" idx="21" hasCustomPrompt="1"/>
          </p:nvPr>
        </p:nvSpPr>
        <p:spPr bwMode="gray">
          <a:xfrm>
            <a:off x="0" y="0"/>
            <a:ext cx="3999420" cy="10058400"/>
          </a:xfrm>
          <a:solidFill>
            <a:schemeClr val="accent6"/>
          </a:solidFill>
        </p:spPr>
        <p:txBody>
          <a:bodyPr/>
          <a:lstStyle>
            <a:lvl1pPr marL="0" indent="0">
              <a:buNone/>
              <a:defRPr/>
            </a:lvl1pPr>
          </a:lstStyle>
          <a:p>
            <a:r>
              <a:rPr lang="en-GB"/>
              <a:t>[Click on icon to insert picture]</a:t>
            </a:r>
          </a:p>
        </p:txBody>
      </p:sp>
      <p:sp>
        <p:nvSpPr>
          <p:cNvPr id="3" name="Tijdelijke aanduiding voor dianummer 2"/>
          <p:cNvSpPr>
            <a:spLocks noGrp="1" noSelect="1"/>
          </p:cNvSpPr>
          <p:nvPr>
            <p:ph type="sldNum" sz="quarter" idx="23"/>
          </p:nvPr>
        </p:nvSpPr>
        <p:spPr/>
        <p:txBody>
          <a:bodyPr/>
          <a:lstStyle/>
          <a:p>
            <a:fld id="{ADECF1AC-24A7-42A4-9FAC-3CE63B9FFA68}" type="slidenum">
              <a:rPr lang="en-US" smtClean="0"/>
              <a:t>‹#›</a:t>
            </a:fld>
            <a:endParaRPr lang="en-US"/>
          </a:p>
        </p:txBody>
      </p:sp>
    </p:spTree>
    <p:extLst>
      <p:ext uri="{BB962C8B-B14F-4D97-AF65-F5344CB8AC3E}">
        <p14:creationId xmlns:p14="http://schemas.microsoft.com/office/powerpoint/2010/main" val="2582471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4 images, large right">
    <p:spTree>
      <p:nvGrpSpPr>
        <p:cNvPr id="1" name=""/>
        <p:cNvGrpSpPr/>
        <p:nvPr/>
      </p:nvGrpSpPr>
      <p:grpSpPr>
        <a:xfrm>
          <a:off x="0" y="0"/>
          <a:ext cx="0" cy="0"/>
          <a:chOff x="0" y="0"/>
          <a:chExt cx="0" cy="0"/>
        </a:xfrm>
      </p:grpSpPr>
      <p:sp>
        <p:nvSpPr>
          <p:cNvPr id="8" name="Tijdelijke aanduiding voor afbeelding 3"/>
          <p:cNvSpPr>
            <a:spLocks noGrp="1" noSelect="1"/>
          </p:cNvSpPr>
          <p:nvPr>
            <p:ph type="pic" sz="quarter" idx="18" hasCustomPrompt="1"/>
          </p:nvPr>
        </p:nvSpPr>
        <p:spPr bwMode="gray">
          <a:xfrm>
            <a:off x="1" y="3527041"/>
            <a:ext cx="3702600" cy="6522720"/>
          </a:xfrm>
          <a:solidFill>
            <a:schemeClr val="accent6"/>
          </a:solidFill>
        </p:spPr>
        <p:txBody>
          <a:bodyPr/>
          <a:lstStyle>
            <a:lvl1pPr marL="0" indent="0">
              <a:buNone/>
              <a:defRPr/>
            </a:lvl1pPr>
          </a:lstStyle>
          <a:p>
            <a:r>
              <a:rPr lang="en-GB"/>
              <a:t>[Click on icon to insert picture]</a:t>
            </a:r>
          </a:p>
        </p:txBody>
      </p:sp>
      <p:sp>
        <p:nvSpPr>
          <p:cNvPr id="9" name="Tijdelijke aanduiding voor afbeelding 3"/>
          <p:cNvSpPr>
            <a:spLocks noGrp="1" noSelect="1"/>
          </p:cNvSpPr>
          <p:nvPr>
            <p:ph type="pic" sz="quarter" idx="19" hasCustomPrompt="1"/>
          </p:nvPr>
        </p:nvSpPr>
        <p:spPr bwMode="gray">
          <a:xfrm>
            <a:off x="0" y="0"/>
            <a:ext cx="1817640" cy="3405600"/>
          </a:xfrm>
          <a:solidFill>
            <a:schemeClr val="accent6"/>
          </a:solidFill>
        </p:spPr>
        <p:txBody>
          <a:bodyPr/>
          <a:lstStyle>
            <a:lvl1pPr marL="0" indent="0">
              <a:buNone/>
              <a:defRPr/>
            </a:lvl1pPr>
          </a:lstStyle>
          <a:p>
            <a:r>
              <a:rPr lang="en-GB"/>
              <a:t>[Click on icon to insert picture]</a:t>
            </a:r>
          </a:p>
        </p:txBody>
      </p:sp>
      <p:sp>
        <p:nvSpPr>
          <p:cNvPr id="10" name="Tijdelijke aanduiding voor afbeelding 3"/>
          <p:cNvSpPr>
            <a:spLocks noGrp="1" noSelect="1"/>
          </p:cNvSpPr>
          <p:nvPr>
            <p:ph type="pic" sz="quarter" idx="20" hasCustomPrompt="1"/>
          </p:nvPr>
        </p:nvSpPr>
        <p:spPr bwMode="gray">
          <a:xfrm>
            <a:off x="1887522" y="0"/>
            <a:ext cx="1817640" cy="3405600"/>
          </a:xfrm>
          <a:solidFill>
            <a:schemeClr val="accent6"/>
          </a:solidFill>
        </p:spPr>
        <p:txBody>
          <a:bodyPr/>
          <a:lstStyle>
            <a:lvl1pPr marL="0" indent="0">
              <a:buNone/>
              <a:defRPr/>
            </a:lvl1pPr>
          </a:lstStyle>
          <a:p>
            <a:r>
              <a:rPr lang="en-GB"/>
              <a:t>[Click on icon to insert picture]</a:t>
            </a:r>
          </a:p>
        </p:txBody>
      </p:sp>
      <p:sp>
        <p:nvSpPr>
          <p:cNvPr id="12" name="Tijdelijke aanduiding voor afbeelding 3"/>
          <p:cNvSpPr>
            <a:spLocks noGrp="1" noSelect="1"/>
          </p:cNvSpPr>
          <p:nvPr>
            <p:ph type="pic" sz="quarter" idx="21" hasCustomPrompt="1"/>
          </p:nvPr>
        </p:nvSpPr>
        <p:spPr bwMode="gray">
          <a:xfrm>
            <a:off x="3772980" y="0"/>
            <a:ext cx="3999420" cy="10058400"/>
          </a:xfrm>
          <a:solidFill>
            <a:schemeClr val="accent6"/>
          </a:solidFill>
        </p:spPr>
        <p:txBody>
          <a:bodyPr/>
          <a:lstStyle>
            <a:lvl1pPr marL="0" indent="0">
              <a:buNone/>
              <a:defRPr/>
            </a:lvl1pPr>
          </a:lstStyle>
          <a:p>
            <a:r>
              <a:rPr lang="en-GB"/>
              <a:t>[Click on icon to insert picture]</a:t>
            </a:r>
          </a:p>
        </p:txBody>
      </p:sp>
      <p:sp>
        <p:nvSpPr>
          <p:cNvPr id="3" name="Tijdelijke aanduiding voor dianummer 2"/>
          <p:cNvSpPr>
            <a:spLocks noGrp="1" noSelect="1"/>
          </p:cNvSpPr>
          <p:nvPr>
            <p:ph type="sldNum" sz="quarter" idx="23"/>
          </p:nvPr>
        </p:nvSpPr>
        <p:spPr/>
        <p:txBody>
          <a:bodyPr/>
          <a:lstStyle/>
          <a:p>
            <a:fld id="{ADECF1AC-24A7-42A4-9FAC-3CE63B9FFA68}" type="slidenum">
              <a:rPr lang="en-US" smtClean="0"/>
              <a:t>‹#›</a:t>
            </a:fld>
            <a:endParaRPr lang="en-US"/>
          </a:p>
        </p:txBody>
      </p:sp>
    </p:spTree>
    <p:extLst>
      <p:ext uri="{BB962C8B-B14F-4D97-AF65-F5344CB8AC3E}">
        <p14:creationId xmlns:p14="http://schemas.microsoft.com/office/powerpoint/2010/main" val="24244169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and content (violet)">
    <p:bg>
      <p:bgPr>
        <a:solidFill>
          <a:srgbClr val="4C0045"/>
        </a:solidFill>
        <a:effectLst/>
      </p:bgPr>
    </p:bg>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invGray"/>
        <p:txBody>
          <a:bodyPr/>
          <a:lstStyle>
            <a:lvl1pPr>
              <a:defRPr>
                <a:solidFill>
                  <a:schemeClr val="bg1"/>
                </a:solidFill>
              </a:defRPr>
            </a:lvl1pPr>
          </a:lstStyle>
          <a:p>
            <a:r>
              <a:rPr lang="en-GB" noProof="1"/>
              <a:t>[Title]</a:t>
            </a:r>
          </a:p>
        </p:txBody>
      </p:sp>
      <p:sp>
        <p:nvSpPr>
          <p:cNvPr id="3" name="***Tijdelijke aanduiding voor inhoud 2"/>
          <p:cNvSpPr>
            <a:spLocks noGrp="1" noSelect="1"/>
          </p:cNvSpPr>
          <p:nvPr>
            <p:ph idx="1" hasCustomPrompt="1"/>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1"/>
              <a:t>[Type text or click on icon to insert an object]</a:t>
            </a:r>
          </a:p>
        </p:txBody>
      </p:sp>
      <p:sp>
        <p:nvSpPr>
          <p:cNvPr id="7" name="***Tijdelijke aanduiding voor voettekst 6"/>
          <p:cNvSpPr>
            <a:spLocks noGrp="1" noSelect="1"/>
          </p:cNvSpPr>
          <p:nvPr>
            <p:ph type="ftr" sz="quarter" idx="10"/>
          </p:nvPr>
        </p:nvSpPr>
        <p:spPr bwMode="invGray"/>
        <p:txBody>
          <a:bodyPr/>
          <a:lstStyle>
            <a:lvl1pPr>
              <a:defRPr>
                <a:solidFill>
                  <a:schemeClr val="bg1"/>
                </a:solidFill>
              </a:defRPr>
            </a:lvl1pPr>
          </a:lstStyle>
          <a:p>
            <a:endParaRPr lang="en-US"/>
          </a:p>
        </p:txBody>
      </p:sp>
      <p:sp>
        <p:nvSpPr>
          <p:cNvPr id="8" name="***Tijdelijke aanduiding voor dianummer 7"/>
          <p:cNvSpPr>
            <a:spLocks noGrp="1" noSelect="1"/>
          </p:cNvSpPr>
          <p:nvPr>
            <p:ph type="sldNum" sz="quarter" idx="11"/>
          </p:nvPr>
        </p:nvSpPr>
        <p:spPr bwMode="invGray"/>
        <p:txBody>
          <a:bodyPr/>
          <a:lstStyle>
            <a:lvl1pPr>
              <a:defRPr>
                <a:solidFill>
                  <a:schemeClr val="bg1"/>
                </a:solidFill>
              </a:defRPr>
            </a:lvl1pPr>
          </a:lstStyle>
          <a:p>
            <a:fld id="{ADECF1AC-24A7-42A4-9FAC-3CE63B9FFA68}" type="slidenum">
              <a:rPr lang="en-US" smtClean="0"/>
              <a:t>‹#›</a:t>
            </a:fld>
            <a:endParaRPr lang="en-US"/>
          </a:p>
        </p:txBody>
      </p:sp>
      <p:sp>
        <p:nvSpPr>
          <p:cNvPr id="13" name="Streep (PHJU)"/>
          <p:cNvSpPr>
            <a:spLocks noGrp="1" noSelect="1"/>
          </p:cNvSpPr>
          <p:nvPr>
            <p:ph type="body" idx="1001" hasCustomPrompt="1"/>
          </p:nvPr>
        </p:nvSpPr>
        <p:spPr bwMode="gray">
          <a:xfrm>
            <a:off x="612001" y="2233449"/>
            <a:ext cx="1209040" cy="2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grpSp>
        <p:nvGrpSpPr>
          <p:cNvPr id="32" name="Group 4"/>
          <p:cNvGrpSpPr>
            <a:grpSpLocks noSelect="1" noChangeAspect="1"/>
          </p:cNvGrpSpPr>
          <p:nvPr/>
        </p:nvGrpSpPr>
        <p:grpSpPr bwMode="gray">
          <a:xfrm>
            <a:off x="636480" y="9472321"/>
            <a:ext cx="1211760" cy="388307"/>
            <a:chOff x="634" y="3938"/>
            <a:chExt cx="1190" cy="221"/>
          </a:xfrm>
          <a:solidFill>
            <a:schemeClr val="bg1"/>
          </a:solidFill>
        </p:grpSpPr>
        <p:sp>
          <p:nvSpPr>
            <p:cNvPr id="33" name="Freeform 5"/>
            <p:cNvSpPr>
              <a:spLocks noSelect="1"/>
            </p:cNvSpPr>
            <p:nvPr/>
          </p:nvSpPr>
          <p:spPr bwMode="gray">
            <a:xfrm>
              <a:off x="845" y="3995"/>
              <a:ext cx="979" cy="122"/>
            </a:xfrm>
            <a:custGeom>
              <a:avLst/>
              <a:gdLst>
                <a:gd name="T0" fmla="*/ 1067 w 2611"/>
                <a:gd name="T1" fmla="*/ 265 h 324"/>
                <a:gd name="T2" fmla="*/ 936 w 2611"/>
                <a:gd name="T3" fmla="*/ 297 h 324"/>
                <a:gd name="T4" fmla="*/ 1080 w 2611"/>
                <a:gd name="T5" fmla="*/ 166 h 324"/>
                <a:gd name="T6" fmla="*/ 1029 w 2611"/>
                <a:gd name="T7" fmla="*/ 165 h 324"/>
                <a:gd name="T8" fmla="*/ 994 w 2611"/>
                <a:gd name="T9" fmla="*/ 198 h 324"/>
                <a:gd name="T10" fmla="*/ 2292 w 2611"/>
                <a:gd name="T11" fmla="*/ 265 h 324"/>
                <a:gd name="T12" fmla="*/ 2161 w 2611"/>
                <a:gd name="T13" fmla="*/ 297 h 324"/>
                <a:gd name="T14" fmla="*/ 2305 w 2611"/>
                <a:gd name="T15" fmla="*/ 166 h 324"/>
                <a:gd name="T16" fmla="*/ 2254 w 2611"/>
                <a:gd name="T17" fmla="*/ 165 h 324"/>
                <a:gd name="T18" fmla="*/ 2219 w 2611"/>
                <a:gd name="T19" fmla="*/ 198 h 324"/>
                <a:gd name="T20" fmla="*/ 2598 w 2611"/>
                <a:gd name="T21" fmla="*/ 265 h 324"/>
                <a:gd name="T22" fmla="*/ 2466 w 2611"/>
                <a:gd name="T23" fmla="*/ 297 h 324"/>
                <a:gd name="T24" fmla="*/ 2611 w 2611"/>
                <a:gd name="T25" fmla="*/ 166 h 324"/>
                <a:gd name="T26" fmla="*/ 2560 w 2611"/>
                <a:gd name="T27" fmla="*/ 165 h 324"/>
                <a:gd name="T28" fmla="*/ 2525 w 2611"/>
                <a:gd name="T29" fmla="*/ 198 h 324"/>
                <a:gd name="T30" fmla="*/ 1611 w 2611"/>
                <a:gd name="T31" fmla="*/ 208 h 324"/>
                <a:gd name="T32" fmla="*/ 1516 w 2611"/>
                <a:gd name="T33" fmla="*/ 136 h 324"/>
                <a:gd name="T34" fmla="*/ 1640 w 2611"/>
                <a:gd name="T35" fmla="*/ 208 h 324"/>
                <a:gd name="T36" fmla="*/ 1735 w 2611"/>
                <a:gd name="T37" fmla="*/ 279 h 324"/>
                <a:gd name="T38" fmla="*/ 1735 w 2611"/>
                <a:gd name="T39" fmla="*/ 279 h 324"/>
                <a:gd name="T40" fmla="*/ 119 w 2611"/>
                <a:gd name="T41" fmla="*/ 247 h 324"/>
                <a:gd name="T42" fmla="*/ 0 w 2611"/>
                <a:gd name="T43" fmla="*/ 13 h 324"/>
                <a:gd name="T44" fmla="*/ 151 w 2611"/>
                <a:gd name="T45" fmla="*/ 312 h 324"/>
                <a:gd name="T46" fmla="*/ 840 w 2611"/>
                <a:gd name="T47" fmla="*/ 1 h 324"/>
                <a:gd name="T48" fmla="*/ 766 w 2611"/>
                <a:gd name="T49" fmla="*/ 91 h 324"/>
                <a:gd name="T50" fmla="*/ 760 w 2611"/>
                <a:gd name="T51" fmla="*/ 323 h 324"/>
                <a:gd name="T52" fmla="*/ 888 w 2611"/>
                <a:gd name="T53" fmla="*/ 295 h 324"/>
                <a:gd name="T54" fmla="*/ 864 w 2611"/>
                <a:gd name="T55" fmla="*/ 264 h 324"/>
                <a:gd name="T56" fmla="*/ 738 w 2611"/>
                <a:gd name="T57" fmla="*/ 206 h 324"/>
                <a:gd name="T58" fmla="*/ 810 w 2611"/>
                <a:gd name="T59" fmla="*/ 213 h 324"/>
                <a:gd name="T60" fmla="*/ 642 w 2611"/>
                <a:gd name="T61" fmla="*/ 281 h 324"/>
                <a:gd name="T62" fmla="*/ 523 w 2611"/>
                <a:gd name="T63" fmla="*/ 115 h 324"/>
                <a:gd name="T64" fmla="*/ 470 w 2611"/>
                <a:gd name="T65" fmla="*/ 150 h 324"/>
                <a:gd name="T66" fmla="*/ 525 w 2611"/>
                <a:gd name="T67" fmla="*/ 316 h 324"/>
                <a:gd name="T68" fmla="*/ 557 w 2611"/>
                <a:gd name="T69" fmla="*/ 138 h 324"/>
                <a:gd name="T70" fmla="*/ 624 w 2611"/>
                <a:gd name="T71" fmla="*/ 322 h 324"/>
                <a:gd name="T72" fmla="*/ 1394 w 2611"/>
                <a:gd name="T73" fmla="*/ 283 h 324"/>
                <a:gd name="T74" fmla="*/ 1315 w 2611"/>
                <a:gd name="T75" fmla="*/ 94 h 324"/>
                <a:gd name="T76" fmla="*/ 1166 w 2611"/>
                <a:gd name="T77" fmla="*/ 117 h 324"/>
                <a:gd name="T78" fmla="*/ 1113 w 2611"/>
                <a:gd name="T79" fmla="*/ 299 h 324"/>
                <a:gd name="T80" fmla="*/ 1195 w 2611"/>
                <a:gd name="T81" fmla="*/ 140 h 324"/>
                <a:gd name="T82" fmla="*/ 1245 w 2611"/>
                <a:gd name="T83" fmla="*/ 322 h 324"/>
                <a:gd name="T84" fmla="*/ 1318 w 2611"/>
                <a:gd name="T85" fmla="*/ 147 h 324"/>
                <a:gd name="T86" fmla="*/ 1367 w 2611"/>
                <a:gd name="T87" fmla="*/ 322 h 324"/>
                <a:gd name="T88" fmla="*/ 1889 w 2611"/>
                <a:gd name="T89" fmla="*/ 322 h 324"/>
                <a:gd name="T90" fmla="*/ 1971 w 2611"/>
                <a:gd name="T91" fmla="*/ 146 h 324"/>
                <a:gd name="T92" fmla="*/ 1915 w 2611"/>
                <a:gd name="T93" fmla="*/ 110 h 324"/>
                <a:gd name="T94" fmla="*/ 1864 w 2611"/>
                <a:gd name="T95" fmla="*/ 299 h 324"/>
                <a:gd name="T96" fmla="*/ 2079 w 2611"/>
                <a:gd name="T97" fmla="*/ 277 h 324"/>
                <a:gd name="T98" fmla="*/ 2112 w 2611"/>
                <a:gd name="T99" fmla="*/ 114 h 324"/>
                <a:gd name="T100" fmla="*/ 2038 w 2611"/>
                <a:gd name="T101" fmla="*/ 46 h 324"/>
                <a:gd name="T102" fmla="*/ 2064 w 2611"/>
                <a:gd name="T103" fmla="*/ 323 h 324"/>
                <a:gd name="T104" fmla="*/ 2379 w 2611"/>
                <a:gd name="T105" fmla="*/ 323 h 324"/>
                <a:gd name="T106" fmla="*/ 2397 w 2611"/>
                <a:gd name="T107" fmla="*/ 281 h 324"/>
                <a:gd name="T108" fmla="*/ 2369 w 2611"/>
                <a:gd name="T109" fmla="*/ 1 h 324"/>
                <a:gd name="T110" fmla="*/ 385 w 2611"/>
                <a:gd name="T111" fmla="*/ 96 h 324"/>
                <a:gd name="T112" fmla="*/ 232 w 2611"/>
                <a:gd name="T113" fmla="*/ 202 h 324"/>
                <a:gd name="T114" fmla="*/ 370 w 2611"/>
                <a:gd name="T115" fmla="*/ 310 h 324"/>
                <a:gd name="T116" fmla="*/ 426 w 2611"/>
                <a:gd name="T117" fmla="*/ 283 h 324"/>
                <a:gd name="T118" fmla="*/ 385 w 2611"/>
                <a:gd name="T119" fmla="*/ 96 h 324"/>
                <a:gd name="T120" fmla="*/ 323 w 2611"/>
                <a:gd name="T121" fmla="*/ 137 h 324"/>
                <a:gd name="T122" fmla="*/ 323 w 2611"/>
                <a:gd name="T123" fmla="*/ 277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11" h="324">
                  <a:moveTo>
                    <a:pt x="961" y="232"/>
                  </a:moveTo>
                  <a:cubicBezTo>
                    <a:pt x="966" y="262"/>
                    <a:pt x="982" y="279"/>
                    <a:pt x="1010" y="279"/>
                  </a:cubicBezTo>
                  <a:cubicBezTo>
                    <a:pt x="1026" y="279"/>
                    <a:pt x="1042" y="274"/>
                    <a:pt x="1054" y="270"/>
                  </a:cubicBezTo>
                  <a:cubicBezTo>
                    <a:pt x="1060" y="268"/>
                    <a:pt x="1067" y="265"/>
                    <a:pt x="1067" y="265"/>
                  </a:cubicBezTo>
                  <a:cubicBezTo>
                    <a:pt x="1067" y="265"/>
                    <a:pt x="1074" y="274"/>
                    <a:pt x="1074" y="282"/>
                  </a:cubicBezTo>
                  <a:cubicBezTo>
                    <a:pt x="1075" y="292"/>
                    <a:pt x="1073" y="300"/>
                    <a:pt x="1064" y="307"/>
                  </a:cubicBezTo>
                  <a:cubicBezTo>
                    <a:pt x="1051" y="318"/>
                    <a:pt x="1028" y="324"/>
                    <a:pt x="1005" y="324"/>
                  </a:cubicBezTo>
                  <a:cubicBezTo>
                    <a:pt x="975" y="324"/>
                    <a:pt x="952" y="315"/>
                    <a:pt x="936" y="297"/>
                  </a:cubicBezTo>
                  <a:cubicBezTo>
                    <a:pt x="916" y="276"/>
                    <a:pt x="907" y="244"/>
                    <a:pt x="907" y="201"/>
                  </a:cubicBezTo>
                  <a:cubicBezTo>
                    <a:pt x="909" y="130"/>
                    <a:pt x="940" y="91"/>
                    <a:pt x="995" y="91"/>
                  </a:cubicBezTo>
                  <a:cubicBezTo>
                    <a:pt x="1025" y="91"/>
                    <a:pt x="1049" y="98"/>
                    <a:pt x="1064" y="114"/>
                  </a:cubicBezTo>
                  <a:cubicBezTo>
                    <a:pt x="1076" y="127"/>
                    <a:pt x="1080" y="145"/>
                    <a:pt x="1080" y="166"/>
                  </a:cubicBezTo>
                  <a:cubicBezTo>
                    <a:pt x="1078" y="210"/>
                    <a:pt x="1045" y="234"/>
                    <a:pt x="997" y="234"/>
                  </a:cubicBezTo>
                  <a:cubicBezTo>
                    <a:pt x="985" y="234"/>
                    <a:pt x="974" y="233"/>
                    <a:pt x="961" y="232"/>
                  </a:cubicBezTo>
                  <a:moveTo>
                    <a:pt x="994" y="198"/>
                  </a:moveTo>
                  <a:cubicBezTo>
                    <a:pt x="1018" y="198"/>
                    <a:pt x="1029" y="187"/>
                    <a:pt x="1029" y="165"/>
                  </a:cubicBezTo>
                  <a:cubicBezTo>
                    <a:pt x="1030" y="154"/>
                    <a:pt x="1027" y="144"/>
                    <a:pt x="1022" y="139"/>
                  </a:cubicBezTo>
                  <a:cubicBezTo>
                    <a:pt x="1017" y="133"/>
                    <a:pt x="1010" y="130"/>
                    <a:pt x="1000" y="130"/>
                  </a:cubicBezTo>
                  <a:cubicBezTo>
                    <a:pt x="974" y="130"/>
                    <a:pt x="962" y="153"/>
                    <a:pt x="961" y="197"/>
                  </a:cubicBezTo>
                  <a:cubicBezTo>
                    <a:pt x="975" y="198"/>
                    <a:pt x="982" y="198"/>
                    <a:pt x="994" y="198"/>
                  </a:cubicBezTo>
                  <a:moveTo>
                    <a:pt x="2186" y="232"/>
                  </a:moveTo>
                  <a:cubicBezTo>
                    <a:pt x="2191" y="262"/>
                    <a:pt x="2207" y="279"/>
                    <a:pt x="2235" y="279"/>
                  </a:cubicBezTo>
                  <a:cubicBezTo>
                    <a:pt x="2251" y="279"/>
                    <a:pt x="2267" y="274"/>
                    <a:pt x="2279" y="270"/>
                  </a:cubicBezTo>
                  <a:cubicBezTo>
                    <a:pt x="2285" y="268"/>
                    <a:pt x="2292" y="265"/>
                    <a:pt x="2292" y="265"/>
                  </a:cubicBezTo>
                  <a:cubicBezTo>
                    <a:pt x="2292" y="265"/>
                    <a:pt x="2299" y="274"/>
                    <a:pt x="2299" y="282"/>
                  </a:cubicBezTo>
                  <a:cubicBezTo>
                    <a:pt x="2300" y="292"/>
                    <a:pt x="2298" y="300"/>
                    <a:pt x="2289" y="307"/>
                  </a:cubicBezTo>
                  <a:cubicBezTo>
                    <a:pt x="2276" y="318"/>
                    <a:pt x="2253" y="324"/>
                    <a:pt x="2229" y="324"/>
                  </a:cubicBezTo>
                  <a:cubicBezTo>
                    <a:pt x="2200" y="324"/>
                    <a:pt x="2177" y="315"/>
                    <a:pt x="2161" y="297"/>
                  </a:cubicBezTo>
                  <a:cubicBezTo>
                    <a:pt x="2141" y="276"/>
                    <a:pt x="2131" y="244"/>
                    <a:pt x="2132" y="201"/>
                  </a:cubicBezTo>
                  <a:cubicBezTo>
                    <a:pt x="2134" y="130"/>
                    <a:pt x="2165" y="91"/>
                    <a:pt x="2220" y="91"/>
                  </a:cubicBezTo>
                  <a:cubicBezTo>
                    <a:pt x="2250" y="91"/>
                    <a:pt x="2274" y="98"/>
                    <a:pt x="2289" y="114"/>
                  </a:cubicBezTo>
                  <a:cubicBezTo>
                    <a:pt x="2301" y="127"/>
                    <a:pt x="2305" y="145"/>
                    <a:pt x="2305" y="166"/>
                  </a:cubicBezTo>
                  <a:cubicBezTo>
                    <a:pt x="2303" y="210"/>
                    <a:pt x="2270" y="234"/>
                    <a:pt x="2222" y="234"/>
                  </a:cubicBezTo>
                  <a:cubicBezTo>
                    <a:pt x="2210" y="234"/>
                    <a:pt x="2199" y="233"/>
                    <a:pt x="2186" y="232"/>
                  </a:cubicBezTo>
                  <a:moveTo>
                    <a:pt x="2219" y="198"/>
                  </a:moveTo>
                  <a:cubicBezTo>
                    <a:pt x="2243" y="198"/>
                    <a:pt x="2254" y="187"/>
                    <a:pt x="2254" y="165"/>
                  </a:cubicBezTo>
                  <a:cubicBezTo>
                    <a:pt x="2255" y="154"/>
                    <a:pt x="2252" y="144"/>
                    <a:pt x="2247" y="139"/>
                  </a:cubicBezTo>
                  <a:cubicBezTo>
                    <a:pt x="2242" y="133"/>
                    <a:pt x="2235" y="130"/>
                    <a:pt x="2225" y="130"/>
                  </a:cubicBezTo>
                  <a:cubicBezTo>
                    <a:pt x="2199" y="130"/>
                    <a:pt x="2187" y="153"/>
                    <a:pt x="2186" y="197"/>
                  </a:cubicBezTo>
                  <a:cubicBezTo>
                    <a:pt x="2200" y="198"/>
                    <a:pt x="2207" y="198"/>
                    <a:pt x="2219" y="198"/>
                  </a:cubicBezTo>
                  <a:moveTo>
                    <a:pt x="2492" y="232"/>
                  </a:moveTo>
                  <a:cubicBezTo>
                    <a:pt x="2497" y="262"/>
                    <a:pt x="2513" y="279"/>
                    <a:pt x="2541" y="279"/>
                  </a:cubicBezTo>
                  <a:cubicBezTo>
                    <a:pt x="2557" y="279"/>
                    <a:pt x="2573" y="274"/>
                    <a:pt x="2585" y="270"/>
                  </a:cubicBezTo>
                  <a:cubicBezTo>
                    <a:pt x="2591" y="268"/>
                    <a:pt x="2598" y="265"/>
                    <a:pt x="2598" y="265"/>
                  </a:cubicBezTo>
                  <a:cubicBezTo>
                    <a:pt x="2598" y="265"/>
                    <a:pt x="2605" y="274"/>
                    <a:pt x="2605" y="282"/>
                  </a:cubicBezTo>
                  <a:cubicBezTo>
                    <a:pt x="2606" y="292"/>
                    <a:pt x="2604" y="300"/>
                    <a:pt x="2594" y="307"/>
                  </a:cubicBezTo>
                  <a:cubicBezTo>
                    <a:pt x="2582" y="318"/>
                    <a:pt x="2559" y="324"/>
                    <a:pt x="2535" y="324"/>
                  </a:cubicBezTo>
                  <a:cubicBezTo>
                    <a:pt x="2506" y="324"/>
                    <a:pt x="2483" y="315"/>
                    <a:pt x="2466" y="297"/>
                  </a:cubicBezTo>
                  <a:cubicBezTo>
                    <a:pt x="2447" y="276"/>
                    <a:pt x="2437" y="244"/>
                    <a:pt x="2438" y="201"/>
                  </a:cubicBezTo>
                  <a:cubicBezTo>
                    <a:pt x="2439" y="130"/>
                    <a:pt x="2471" y="91"/>
                    <a:pt x="2526" y="91"/>
                  </a:cubicBezTo>
                  <a:cubicBezTo>
                    <a:pt x="2556" y="91"/>
                    <a:pt x="2580" y="98"/>
                    <a:pt x="2594" y="114"/>
                  </a:cubicBezTo>
                  <a:cubicBezTo>
                    <a:pt x="2607" y="127"/>
                    <a:pt x="2611" y="145"/>
                    <a:pt x="2611" y="166"/>
                  </a:cubicBezTo>
                  <a:cubicBezTo>
                    <a:pt x="2609" y="210"/>
                    <a:pt x="2576" y="234"/>
                    <a:pt x="2528" y="234"/>
                  </a:cubicBezTo>
                  <a:cubicBezTo>
                    <a:pt x="2516" y="234"/>
                    <a:pt x="2505" y="233"/>
                    <a:pt x="2492" y="232"/>
                  </a:cubicBezTo>
                  <a:moveTo>
                    <a:pt x="2525" y="198"/>
                  </a:moveTo>
                  <a:cubicBezTo>
                    <a:pt x="2549" y="198"/>
                    <a:pt x="2560" y="187"/>
                    <a:pt x="2560" y="165"/>
                  </a:cubicBezTo>
                  <a:cubicBezTo>
                    <a:pt x="2560" y="154"/>
                    <a:pt x="2558" y="144"/>
                    <a:pt x="2553" y="139"/>
                  </a:cubicBezTo>
                  <a:cubicBezTo>
                    <a:pt x="2548" y="133"/>
                    <a:pt x="2540" y="130"/>
                    <a:pt x="2531" y="130"/>
                  </a:cubicBezTo>
                  <a:cubicBezTo>
                    <a:pt x="2505" y="130"/>
                    <a:pt x="2493" y="153"/>
                    <a:pt x="2492" y="197"/>
                  </a:cubicBezTo>
                  <a:cubicBezTo>
                    <a:pt x="2506" y="198"/>
                    <a:pt x="2512" y="198"/>
                    <a:pt x="2525" y="198"/>
                  </a:cubicBezTo>
                  <a:moveTo>
                    <a:pt x="1516" y="91"/>
                  </a:moveTo>
                  <a:cubicBezTo>
                    <a:pt x="1481" y="91"/>
                    <a:pt x="1422" y="106"/>
                    <a:pt x="1422" y="208"/>
                  </a:cubicBezTo>
                  <a:cubicBezTo>
                    <a:pt x="1422" y="309"/>
                    <a:pt x="1481" y="324"/>
                    <a:pt x="1516" y="324"/>
                  </a:cubicBezTo>
                  <a:cubicBezTo>
                    <a:pt x="1552" y="324"/>
                    <a:pt x="1611" y="309"/>
                    <a:pt x="1611" y="208"/>
                  </a:cubicBezTo>
                  <a:cubicBezTo>
                    <a:pt x="1611" y="106"/>
                    <a:pt x="1552" y="91"/>
                    <a:pt x="1516" y="91"/>
                  </a:cubicBezTo>
                  <a:moveTo>
                    <a:pt x="1516" y="279"/>
                  </a:moveTo>
                  <a:cubicBezTo>
                    <a:pt x="1486" y="279"/>
                    <a:pt x="1478" y="239"/>
                    <a:pt x="1478" y="208"/>
                  </a:cubicBezTo>
                  <a:cubicBezTo>
                    <a:pt x="1478" y="177"/>
                    <a:pt x="1486" y="136"/>
                    <a:pt x="1516" y="136"/>
                  </a:cubicBezTo>
                  <a:cubicBezTo>
                    <a:pt x="1547" y="136"/>
                    <a:pt x="1554" y="177"/>
                    <a:pt x="1554" y="208"/>
                  </a:cubicBezTo>
                  <a:cubicBezTo>
                    <a:pt x="1554" y="239"/>
                    <a:pt x="1547" y="279"/>
                    <a:pt x="1516" y="279"/>
                  </a:cubicBezTo>
                  <a:moveTo>
                    <a:pt x="1735" y="91"/>
                  </a:moveTo>
                  <a:cubicBezTo>
                    <a:pt x="1699" y="91"/>
                    <a:pt x="1640" y="106"/>
                    <a:pt x="1640" y="208"/>
                  </a:cubicBezTo>
                  <a:cubicBezTo>
                    <a:pt x="1640" y="309"/>
                    <a:pt x="1699" y="324"/>
                    <a:pt x="1735" y="324"/>
                  </a:cubicBezTo>
                  <a:cubicBezTo>
                    <a:pt x="1770" y="324"/>
                    <a:pt x="1829" y="309"/>
                    <a:pt x="1829" y="208"/>
                  </a:cubicBezTo>
                  <a:cubicBezTo>
                    <a:pt x="1829" y="106"/>
                    <a:pt x="1770" y="91"/>
                    <a:pt x="1735" y="91"/>
                  </a:cubicBezTo>
                  <a:moveTo>
                    <a:pt x="1735" y="279"/>
                  </a:moveTo>
                  <a:cubicBezTo>
                    <a:pt x="1704" y="279"/>
                    <a:pt x="1697" y="239"/>
                    <a:pt x="1697" y="208"/>
                  </a:cubicBezTo>
                  <a:cubicBezTo>
                    <a:pt x="1697" y="177"/>
                    <a:pt x="1704" y="136"/>
                    <a:pt x="1735" y="136"/>
                  </a:cubicBezTo>
                  <a:cubicBezTo>
                    <a:pt x="1766" y="136"/>
                    <a:pt x="1772" y="177"/>
                    <a:pt x="1772" y="208"/>
                  </a:cubicBezTo>
                  <a:cubicBezTo>
                    <a:pt x="1772" y="239"/>
                    <a:pt x="1766" y="279"/>
                    <a:pt x="1735" y="279"/>
                  </a:cubicBezTo>
                  <a:moveTo>
                    <a:pt x="205" y="0"/>
                  </a:moveTo>
                  <a:cubicBezTo>
                    <a:pt x="187" y="0"/>
                    <a:pt x="175" y="4"/>
                    <a:pt x="175" y="4"/>
                  </a:cubicBezTo>
                  <a:cubicBezTo>
                    <a:pt x="137" y="160"/>
                    <a:pt x="137" y="160"/>
                    <a:pt x="137" y="160"/>
                  </a:cubicBezTo>
                  <a:cubicBezTo>
                    <a:pt x="133" y="176"/>
                    <a:pt x="123" y="222"/>
                    <a:pt x="119" y="247"/>
                  </a:cubicBezTo>
                  <a:cubicBezTo>
                    <a:pt x="115" y="221"/>
                    <a:pt x="106" y="177"/>
                    <a:pt x="101" y="160"/>
                  </a:cubicBezTo>
                  <a:cubicBezTo>
                    <a:pt x="69" y="25"/>
                    <a:pt x="69" y="25"/>
                    <a:pt x="69" y="25"/>
                  </a:cubicBezTo>
                  <a:cubicBezTo>
                    <a:pt x="65" y="9"/>
                    <a:pt x="55" y="1"/>
                    <a:pt x="39" y="1"/>
                  </a:cubicBezTo>
                  <a:cubicBezTo>
                    <a:pt x="18" y="1"/>
                    <a:pt x="4" y="10"/>
                    <a:pt x="0" y="13"/>
                  </a:cubicBezTo>
                  <a:cubicBezTo>
                    <a:pt x="4" y="19"/>
                    <a:pt x="8" y="25"/>
                    <a:pt x="13" y="42"/>
                  </a:cubicBezTo>
                  <a:cubicBezTo>
                    <a:pt x="79" y="292"/>
                    <a:pt x="79" y="292"/>
                    <a:pt x="79" y="292"/>
                  </a:cubicBezTo>
                  <a:cubicBezTo>
                    <a:pt x="84" y="312"/>
                    <a:pt x="92" y="321"/>
                    <a:pt x="106" y="321"/>
                  </a:cubicBezTo>
                  <a:cubicBezTo>
                    <a:pt x="120" y="321"/>
                    <a:pt x="134" y="321"/>
                    <a:pt x="151" y="312"/>
                  </a:cubicBezTo>
                  <a:cubicBezTo>
                    <a:pt x="226" y="29"/>
                    <a:pt x="226" y="29"/>
                    <a:pt x="226" y="29"/>
                  </a:cubicBezTo>
                  <a:cubicBezTo>
                    <a:pt x="232" y="9"/>
                    <a:pt x="220" y="0"/>
                    <a:pt x="205" y="0"/>
                  </a:cubicBezTo>
                  <a:moveTo>
                    <a:pt x="864" y="24"/>
                  </a:moveTo>
                  <a:cubicBezTo>
                    <a:pt x="864" y="7"/>
                    <a:pt x="854" y="1"/>
                    <a:pt x="840" y="1"/>
                  </a:cubicBezTo>
                  <a:cubicBezTo>
                    <a:pt x="828" y="1"/>
                    <a:pt x="813" y="3"/>
                    <a:pt x="807" y="6"/>
                  </a:cubicBezTo>
                  <a:cubicBezTo>
                    <a:pt x="811" y="13"/>
                    <a:pt x="812" y="25"/>
                    <a:pt x="812" y="35"/>
                  </a:cubicBezTo>
                  <a:cubicBezTo>
                    <a:pt x="812" y="112"/>
                    <a:pt x="812" y="112"/>
                    <a:pt x="812" y="112"/>
                  </a:cubicBezTo>
                  <a:cubicBezTo>
                    <a:pt x="799" y="99"/>
                    <a:pt x="785" y="91"/>
                    <a:pt x="766" y="91"/>
                  </a:cubicBezTo>
                  <a:cubicBezTo>
                    <a:pt x="744" y="91"/>
                    <a:pt x="726" y="98"/>
                    <a:pt x="713" y="113"/>
                  </a:cubicBezTo>
                  <a:cubicBezTo>
                    <a:pt x="689" y="138"/>
                    <a:pt x="684" y="180"/>
                    <a:pt x="684" y="202"/>
                  </a:cubicBezTo>
                  <a:cubicBezTo>
                    <a:pt x="684" y="246"/>
                    <a:pt x="693" y="282"/>
                    <a:pt x="713" y="303"/>
                  </a:cubicBezTo>
                  <a:cubicBezTo>
                    <a:pt x="725" y="316"/>
                    <a:pt x="742" y="323"/>
                    <a:pt x="760" y="323"/>
                  </a:cubicBezTo>
                  <a:cubicBezTo>
                    <a:pt x="784" y="323"/>
                    <a:pt x="802" y="312"/>
                    <a:pt x="813" y="295"/>
                  </a:cubicBezTo>
                  <a:cubicBezTo>
                    <a:pt x="813" y="295"/>
                    <a:pt x="817" y="305"/>
                    <a:pt x="821" y="310"/>
                  </a:cubicBezTo>
                  <a:cubicBezTo>
                    <a:pt x="828" y="318"/>
                    <a:pt x="836" y="322"/>
                    <a:pt x="850" y="322"/>
                  </a:cubicBezTo>
                  <a:cubicBezTo>
                    <a:pt x="874" y="322"/>
                    <a:pt x="887" y="314"/>
                    <a:pt x="888" y="295"/>
                  </a:cubicBezTo>
                  <a:cubicBezTo>
                    <a:pt x="888" y="291"/>
                    <a:pt x="886" y="285"/>
                    <a:pt x="885" y="283"/>
                  </a:cubicBezTo>
                  <a:cubicBezTo>
                    <a:pt x="878" y="283"/>
                    <a:pt x="878" y="283"/>
                    <a:pt x="878" y="283"/>
                  </a:cubicBezTo>
                  <a:cubicBezTo>
                    <a:pt x="873" y="283"/>
                    <a:pt x="870" y="282"/>
                    <a:pt x="868" y="281"/>
                  </a:cubicBezTo>
                  <a:cubicBezTo>
                    <a:pt x="865" y="278"/>
                    <a:pt x="864" y="273"/>
                    <a:pt x="864" y="264"/>
                  </a:cubicBezTo>
                  <a:lnTo>
                    <a:pt x="864" y="24"/>
                  </a:lnTo>
                  <a:close/>
                  <a:moveTo>
                    <a:pt x="774" y="277"/>
                  </a:moveTo>
                  <a:cubicBezTo>
                    <a:pt x="766" y="277"/>
                    <a:pt x="760" y="274"/>
                    <a:pt x="755" y="269"/>
                  </a:cubicBezTo>
                  <a:cubicBezTo>
                    <a:pt x="740" y="253"/>
                    <a:pt x="738" y="219"/>
                    <a:pt x="738" y="206"/>
                  </a:cubicBezTo>
                  <a:cubicBezTo>
                    <a:pt x="738" y="175"/>
                    <a:pt x="745" y="137"/>
                    <a:pt x="775" y="137"/>
                  </a:cubicBezTo>
                  <a:cubicBezTo>
                    <a:pt x="784" y="137"/>
                    <a:pt x="791" y="140"/>
                    <a:pt x="796" y="145"/>
                  </a:cubicBezTo>
                  <a:cubicBezTo>
                    <a:pt x="808" y="158"/>
                    <a:pt x="810" y="185"/>
                    <a:pt x="810" y="206"/>
                  </a:cubicBezTo>
                  <a:cubicBezTo>
                    <a:pt x="810" y="213"/>
                    <a:pt x="810" y="213"/>
                    <a:pt x="810" y="213"/>
                  </a:cubicBezTo>
                  <a:cubicBezTo>
                    <a:pt x="809" y="242"/>
                    <a:pt x="802" y="277"/>
                    <a:pt x="774" y="277"/>
                  </a:cubicBezTo>
                  <a:moveTo>
                    <a:pt x="659" y="283"/>
                  </a:moveTo>
                  <a:cubicBezTo>
                    <a:pt x="652" y="283"/>
                    <a:pt x="652" y="283"/>
                    <a:pt x="652" y="283"/>
                  </a:cubicBezTo>
                  <a:cubicBezTo>
                    <a:pt x="647" y="283"/>
                    <a:pt x="644" y="282"/>
                    <a:pt x="642" y="281"/>
                  </a:cubicBezTo>
                  <a:cubicBezTo>
                    <a:pt x="640" y="278"/>
                    <a:pt x="639" y="273"/>
                    <a:pt x="639" y="264"/>
                  </a:cubicBezTo>
                  <a:cubicBezTo>
                    <a:pt x="639" y="189"/>
                    <a:pt x="639" y="189"/>
                    <a:pt x="639" y="189"/>
                  </a:cubicBezTo>
                  <a:cubicBezTo>
                    <a:pt x="639" y="144"/>
                    <a:pt x="631" y="92"/>
                    <a:pt x="575" y="92"/>
                  </a:cubicBezTo>
                  <a:cubicBezTo>
                    <a:pt x="554" y="92"/>
                    <a:pt x="536" y="100"/>
                    <a:pt x="523" y="115"/>
                  </a:cubicBezTo>
                  <a:cubicBezTo>
                    <a:pt x="522" y="100"/>
                    <a:pt x="512" y="94"/>
                    <a:pt x="499" y="94"/>
                  </a:cubicBezTo>
                  <a:cubicBezTo>
                    <a:pt x="486" y="94"/>
                    <a:pt x="472" y="97"/>
                    <a:pt x="466" y="100"/>
                  </a:cubicBezTo>
                  <a:cubicBezTo>
                    <a:pt x="469" y="106"/>
                    <a:pt x="470" y="118"/>
                    <a:pt x="470" y="129"/>
                  </a:cubicBezTo>
                  <a:cubicBezTo>
                    <a:pt x="470" y="150"/>
                    <a:pt x="470" y="150"/>
                    <a:pt x="470" y="150"/>
                  </a:cubicBezTo>
                  <a:cubicBezTo>
                    <a:pt x="470" y="150"/>
                    <a:pt x="470" y="150"/>
                    <a:pt x="470" y="150"/>
                  </a:cubicBezTo>
                  <a:cubicBezTo>
                    <a:pt x="470" y="299"/>
                    <a:pt x="470" y="299"/>
                    <a:pt x="470" y="299"/>
                  </a:cubicBezTo>
                  <a:cubicBezTo>
                    <a:pt x="470" y="316"/>
                    <a:pt x="480" y="321"/>
                    <a:pt x="495" y="321"/>
                  </a:cubicBezTo>
                  <a:cubicBezTo>
                    <a:pt x="507" y="321"/>
                    <a:pt x="519" y="319"/>
                    <a:pt x="525" y="316"/>
                  </a:cubicBezTo>
                  <a:cubicBezTo>
                    <a:pt x="525" y="275"/>
                    <a:pt x="525" y="275"/>
                    <a:pt x="525" y="275"/>
                  </a:cubicBezTo>
                  <a:cubicBezTo>
                    <a:pt x="525" y="275"/>
                    <a:pt x="525" y="275"/>
                    <a:pt x="525" y="275"/>
                  </a:cubicBezTo>
                  <a:cubicBezTo>
                    <a:pt x="525" y="166"/>
                    <a:pt x="525" y="166"/>
                    <a:pt x="525" y="166"/>
                  </a:cubicBezTo>
                  <a:cubicBezTo>
                    <a:pt x="532" y="147"/>
                    <a:pt x="542" y="138"/>
                    <a:pt x="557" y="138"/>
                  </a:cubicBezTo>
                  <a:cubicBezTo>
                    <a:pt x="574" y="138"/>
                    <a:pt x="583" y="152"/>
                    <a:pt x="584" y="177"/>
                  </a:cubicBezTo>
                  <a:cubicBezTo>
                    <a:pt x="584" y="270"/>
                    <a:pt x="584" y="270"/>
                    <a:pt x="584" y="270"/>
                  </a:cubicBezTo>
                  <a:cubicBezTo>
                    <a:pt x="584" y="288"/>
                    <a:pt x="588" y="302"/>
                    <a:pt x="594" y="310"/>
                  </a:cubicBezTo>
                  <a:cubicBezTo>
                    <a:pt x="601" y="318"/>
                    <a:pt x="611" y="322"/>
                    <a:pt x="624" y="322"/>
                  </a:cubicBezTo>
                  <a:cubicBezTo>
                    <a:pt x="648" y="322"/>
                    <a:pt x="662" y="314"/>
                    <a:pt x="662" y="295"/>
                  </a:cubicBezTo>
                  <a:cubicBezTo>
                    <a:pt x="662" y="291"/>
                    <a:pt x="660" y="285"/>
                    <a:pt x="659" y="283"/>
                  </a:cubicBezTo>
                  <a:moveTo>
                    <a:pt x="1402" y="283"/>
                  </a:moveTo>
                  <a:cubicBezTo>
                    <a:pt x="1394" y="283"/>
                    <a:pt x="1394" y="283"/>
                    <a:pt x="1394" y="283"/>
                  </a:cubicBezTo>
                  <a:cubicBezTo>
                    <a:pt x="1389" y="283"/>
                    <a:pt x="1387" y="282"/>
                    <a:pt x="1385" y="281"/>
                  </a:cubicBezTo>
                  <a:cubicBezTo>
                    <a:pt x="1382" y="278"/>
                    <a:pt x="1381" y="273"/>
                    <a:pt x="1381" y="264"/>
                  </a:cubicBezTo>
                  <a:cubicBezTo>
                    <a:pt x="1381" y="183"/>
                    <a:pt x="1381" y="183"/>
                    <a:pt x="1381" y="183"/>
                  </a:cubicBezTo>
                  <a:cubicBezTo>
                    <a:pt x="1381" y="142"/>
                    <a:pt x="1374" y="94"/>
                    <a:pt x="1315" y="94"/>
                  </a:cubicBezTo>
                  <a:cubicBezTo>
                    <a:pt x="1296" y="94"/>
                    <a:pt x="1275" y="102"/>
                    <a:pt x="1261" y="118"/>
                  </a:cubicBezTo>
                  <a:cubicBezTo>
                    <a:pt x="1251" y="102"/>
                    <a:pt x="1236" y="94"/>
                    <a:pt x="1216" y="94"/>
                  </a:cubicBezTo>
                  <a:cubicBezTo>
                    <a:pt x="1198" y="94"/>
                    <a:pt x="1181" y="102"/>
                    <a:pt x="1166" y="118"/>
                  </a:cubicBezTo>
                  <a:cubicBezTo>
                    <a:pt x="1166" y="117"/>
                    <a:pt x="1166" y="117"/>
                    <a:pt x="1166" y="117"/>
                  </a:cubicBezTo>
                  <a:cubicBezTo>
                    <a:pt x="1166" y="100"/>
                    <a:pt x="1156" y="94"/>
                    <a:pt x="1142" y="94"/>
                  </a:cubicBezTo>
                  <a:cubicBezTo>
                    <a:pt x="1130" y="94"/>
                    <a:pt x="1115" y="97"/>
                    <a:pt x="1109" y="100"/>
                  </a:cubicBezTo>
                  <a:cubicBezTo>
                    <a:pt x="1112" y="106"/>
                    <a:pt x="1113" y="115"/>
                    <a:pt x="1113" y="125"/>
                  </a:cubicBezTo>
                  <a:cubicBezTo>
                    <a:pt x="1113" y="299"/>
                    <a:pt x="1113" y="299"/>
                    <a:pt x="1113" y="299"/>
                  </a:cubicBezTo>
                  <a:cubicBezTo>
                    <a:pt x="1113" y="316"/>
                    <a:pt x="1124" y="322"/>
                    <a:pt x="1138" y="322"/>
                  </a:cubicBezTo>
                  <a:cubicBezTo>
                    <a:pt x="1150" y="322"/>
                    <a:pt x="1162" y="319"/>
                    <a:pt x="1168" y="316"/>
                  </a:cubicBezTo>
                  <a:cubicBezTo>
                    <a:pt x="1168" y="168"/>
                    <a:pt x="1168" y="168"/>
                    <a:pt x="1168" y="168"/>
                  </a:cubicBezTo>
                  <a:cubicBezTo>
                    <a:pt x="1171" y="156"/>
                    <a:pt x="1179" y="140"/>
                    <a:pt x="1195" y="140"/>
                  </a:cubicBezTo>
                  <a:cubicBezTo>
                    <a:pt x="1202" y="140"/>
                    <a:pt x="1207" y="142"/>
                    <a:pt x="1211" y="147"/>
                  </a:cubicBezTo>
                  <a:cubicBezTo>
                    <a:pt x="1217" y="153"/>
                    <a:pt x="1220" y="164"/>
                    <a:pt x="1220" y="179"/>
                  </a:cubicBezTo>
                  <a:cubicBezTo>
                    <a:pt x="1220" y="299"/>
                    <a:pt x="1220" y="299"/>
                    <a:pt x="1220" y="299"/>
                  </a:cubicBezTo>
                  <a:cubicBezTo>
                    <a:pt x="1220" y="316"/>
                    <a:pt x="1230" y="322"/>
                    <a:pt x="1245" y="322"/>
                  </a:cubicBezTo>
                  <a:cubicBezTo>
                    <a:pt x="1257" y="322"/>
                    <a:pt x="1269" y="319"/>
                    <a:pt x="1275" y="316"/>
                  </a:cubicBezTo>
                  <a:cubicBezTo>
                    <a:pt x="1275" y="168"/>
                    <a:pt x="1275" y="168"/>
                    <a:pt x="1275" y="168"/>
                  </a:cubicBezTo>
                  <a:cubicBezTo>
                    <a:pt x="1278" y="156"/>
                    <a:pt x="1287" y="140"/>
                    <a:pt x="1303" y="140"/>
                  </a:cubicBezTo>
                  <a:cubicBezTo>
                    <a:pt x="1309" y="140"/>
                    <a:pt x="1314" y="142"/>
                    <a:pt x="1318" y="147"/>
                  </a:cubicBezTo>
                  <a:cubicBezTo>
                    <a:pt x="1324" y="153"/>
                    <a:pt x="1327" y="164"/>
                    <a:pt x="1327" y="179"/>
                  </a:cubicBezTo>
                  <a:cubicBezTo>
                    <a:pt x="1327" y="270"/>
                    <a:pt x="1327" y="270"/>
                    <a:pt x="1327" y="270"/>
                  </a:cubicBezTo>
                  <a:cubicBezTo>
                    <a:pt x="1327" y="288"/>
                    <a:pt x="1330" y="302"/>
                    <a:pt x="1337" y="310"/>
                  </a:cubicBezTo>
                  <a:cubicBezTo>
                    <a:pt x="1344" y="318"/>
                    <a:pt x="1353" y="322"/>
                    <a:pt x="1367" y="322"/>
                  </a:cubicBezTo>
                  <a:cubicBezTo>
                    <a:pt x="1391" y="322"/>
                    <a:pt x="1404" y="314"/>
                    <a:pt x="1404" y="295"/>
                  </a:cubicBezTo>
                  <a:cubicBezTo>
                    <a:pt x="1404" y="291"/>
                    <a:pt x="1403" y="285"/>
                    <a:pt x="1402" y="283"/>
                  </a:cubicBezTo>
                  <a:moveTo>
                    <a:pt x="1864" y="299"/>
                  </a:moveTo>
                  <a:cubicBezTo>
                    <a:pt x="1864" y="316"/>
                    <a:pt x="1875" y="322"/>
                    <a:pt x="1889" y="322"/>
                  </a:cubicBezTo>
                  <a:cubicBezTo>
                    <a:pt x="1901" y="322"/>
                    <a:pt x="1913" y="319"/>
                    <a:pt x="1919" y="316"/>
                  </a:cubicBezTo>
                  <a:cubicBezTo>
                    <a:pt x="1919" y="184"/>
                    <a:pt x="1919" y="184"/>
                    <a:pt x="1919" y="184"/>
                  </a:cubicBezTo>
                  <a:cubicBezTo>
                    <a:pt x="1921" y="156"/>
                    <a:pt x="1933" y="142"/>
                    <a:pt x="1955" y="142"/>
                  </a:cubicBezTo>
                  <a:cubicBezTo>
                    <a:pt x="1962" y="142"/>
                    <a:pt x="1967" y="144"/>
                    <a:pt x="1971" y="146"/>
                  </a:cubicBezTo>
                  <a:cubicBezTo>
                    <a:pt x="1973" y="147"/>
                    <a:pt x="1977" y="148"/>
                    <a:pt x="1979" y="150"/>
                  </a:cubicBezTo>
                  <a:cubicBezTo>
                    <a:pt x="1979" y="150"/>
                    <a:pt x="1989" y="140"/>
                    <a:pt x="1989" y="125"/>
                  </a:cubicBezTo>
                  <a:cubicBezTo>
                    <a:pt x="1988" y="108"/>
                    <a:pt x="1977" y="91"/>
                    <a:pt x="1952" y="91"/>
                  </a:cubicBezTo>
                  <a:cubicBezTo>
                    <a:pt x="1938" y="91"/>
                    <a:pt x="1924" y="98"/>
                    <a:pt x="1915" y="110"/>
                  </a:cubicBezTo>
                  <a:cubicBezTo>
                    <a:pt x="1912" y="99"/>
                    <a:pt x="1904" y="94"/>
                    <a:pt x="1892" y="94"/>
                  </a:cubicBezTo>
                  <a:cubicBezTo>
                    <a:pt x="1880" y="94"/>
                    <a:pt x="1866" y="97"/>
                    <a:pt x="1860" y="100"/>
                  </a:cubicBezTo>
                  <a:cubicBezTo>
                    <a:pt x="1863" y="106"/>
                    <a:pt x="1864" y="118"/>
                    <a:pt x="1864" y="129"/>
                  </a:cubicBezTo>
                  <a:lnTo>
                    <a:pt x="1864" y="299"/>
                  </a:lnTo>
                  <a:close/>
                  <a:moveTo>
                    <a:pt x="2113" y="287"/>
                  </a:moveTo>
                  <a:cubicBezTo>
                    <a:pt x="2111" y="275"/>
                    <a:pt x="2105" y="270"/>
                    <a:pt x="2105" y="270"/>
                  </a:cubicBezTo>
                  <a:cubicBezTo>
                    <a:pt x="2103" y="270"/>
                    <a:pt x="2099" y="272"/>
                    <a:pt x="2096" y="273"/>
                  </a:cubicBezTo>
                  <a:cubicBezTo>
                    <a:pt x="2092" y="275"/>
                    <a:pt x="2085" y="277"/>
                    <a:pt x="2079" y="277"/>
                  </a:cubicBezTo>
                  <a:cubicBezTo>
                    <a:pt x="2068" y="277"/>
                    <a:pt x="2063" y="270"/>
                    <a:pt x="2063" y="252"/>
                  </a:cubicBezTo>
                  <a:cubicBezTo>
                    <a:pt x="2063" y="142"/>
                    <a:pt x="2063" y="142"/>
                    <a:pt x="2063" y="142"/>
                  </a:cubicBezTo>
                  <a:cubicBezTo>
                    <a:pt x="2091" y="142"/>
                    <a:pt x="2091" y="142"/>
                    <a:pt x="2091" y="142"/>
                  </a:cubicBezTo>
                  <a:cubicBezTo>
                    <a:pt x="2109" y="142"/>
                    <a:pt x="2112" y="125"/>
                    <a:pt x="2112" y="114"/>
                  </a:cubicBezTo>
                  <a:cubicBezTo>
                    <a:pt x="2112" y="107"/>
                    <a:pt x="2111" y="101"/>
                    <a:pt x="2106" y="97"/>
                  </a:cubicBezTo>
                  <a:cubicBezTo>
                    <a:pt x="2063" y="97"/>
                    <a:pt x="2063" y="97"/>
                    <a:pt x="2063" y="97"/>
                  </a:cubicBezTo>
                  <a:cubicBezTo>
                    <a:pt x="2063" y="69"/>
                    <a:pt x="2063" y="69"/>
                    <a:pt x="2063" y="69"/>
                  </a:cubicBezTo>
                  <a:cubicBezTo>
                    <a:pt x="2063" y="52"/>
                    <a:pt x="2053" y="46"/>
                    <a:pt x="2038" y="46"/>
                  </a:cubicBezTo>
                  <a:cubicBezTo>
                    <a:pt x="2025" y="46"/>
                    <a:pt x="2010" y="48"/>
                    <a:pt x="2004" y="51"/>
                  </a:cubicBezTo>
                  <a:cubicBezTo>
                    <a:pt x="2007" y="57"/>
                    <a:pt x="2008" y="66"/>
                    <a:pt x="2008" y="76"/>
                  </a:cubicBezTo>
                  <a:cubicBezTo>
                    <a:pt x="2008" y="256"/>
                    <a:pt x="2008" y="256"/>
                    <a:pt x="2008" y="256"/>
                  </a:cubicBezTo>
                  <a:cubicBezTo>
                    <a:pt x="2008" y="299"/>
                    <a:pt x="2030" y="323"/>
                    <a:pt x="2064" y="323"/>
                  </a:cubicBezTo>
                  <a:cubicBezTo>
                    <a:pt x="2100" y="323"/>
                    <a:pt x="2115" y="304"/>
                    <a:pt x="2113" y="287"/>
                  </a:cubicBezTo>
                  <a:moveTo>
                    <a:pt x="2339" y="270"/>
                  </a:moveTo>
                  <a:cubicBezTo>
                    <a:pt x="2339" y="289"/>
                    <a:pt x="2343" y="302"/>
                    <a:pt x="2350" y="311"/>
                  </a:cubicBezTo>
                  <a:cubicBezTo>
                    <a:pt x="2356" y="319"/>
                    <a:pt x="2366" y="323"/>
                    <a:pt x="2379" y="323"/>
                  </a:cubicBezTo>
                  <a:cubicBezTo>
                    <a:pt x="2404" y="323"/>
                    <a:pt x="2417" y="314"/>
                    <a:pt x="2417" y="295"/>
                  </a:cubicBezTo>
                  <a:cubicBezTo>
                    <a:pt x="2417" y="291"/>
                    <a:pt x="2416" y="285"/>
                    <a:pt x="2415" y="283"/>
                  </a:cubicBezTo>
                  <a:cubicBezTo>
                    <a:pt x="2407" y="283"/>
                    <a:pt x="2407" y="283"/>
                    <a:pt x="2407" y="283"/>
                  </a:cubicBezTo>
                  <a:cubicBezTo>
                    <a:pt x="2402" y="283"/>
                    <a:pt x="2399" y="283"/>
                    <a:pt x="2397" y="281"/>
                  </a:cubicBezTo>
                  <a:cubicBezTo>
                    <a:pt x="2395" y="279"/>
                    <a:pt x="2394" y="274"/>
                    <a:pt x="2394" y="264"/>
                  </a:cubicBezTo>
                  <a:cubicBezTo>
                    <a:pt x="2394" y="24"/>
                    <a:pt x="2394" y="24"/>
                    <a:pt x="2394" y="24"/>
                  </a:cubicBezTo>
                  <a:cubicBezTo>
                    <a:pt x="2394" y="21"/>
                    <a:pt x="2394" y="18"/>
                    <a:pt x="2393" y="16"/>
                  </a:cubicBezTo>
                  <a:cubicBezTo>
                    <a:pt x="2390" y="5"/>
                    <a:pt x="2381" y="1"/>
                    <a:pt x="2369" y="1"/>
                  </a:cubicBezTo>
                  <a:cubicBezTo>
                    <a:pt x="2356" y="1"/>
                    <a:pt x="2341" y="4"/>
                    <a:pt x="2335" y="7"/>
                  </a:cubicBezTo>
                  <a:cubicBezTo>
                    <a:pt x="2338" y="13"/>
                    <a:pt x="2339" y="25"/>
                    <a:pt x="2339" y="36"/>
                  </a:cubicBezTo>
                  <a:lnTo>
                    <a:pt x="2339" y="270"/>
                  </a:lnTo>
                  <a:close/>
                  <a:moveTo>
                    <a:pt x="385" y="96"/>
                  </a:moveTo>
                  <a:cubicBezTo>
                    <a:pt x="373" y="96"/>
                    <a:pt x="364" y="101"/>
                    <a:pt x="362" y="115"/>
                  </a:cubicBezTo>
                  <a:cubicBezTo>
                    <a:pt x="353" y="102"/>
                    <a:pt x="336" y="91"/>
                    <a:pt x="315" y="91"/>
                  </a:cubicBezTo>
                  <a:cubicBezTo>
                    <a:pt x="293" y="91"/>
                    <a:pt x="275" y="98"/>
                    <a:pt x="261" y="113"/>
                  </a:cubicBezTo>
                  <a:cubicBezTo>
                    <a:pt x="237" y="138"/>
                    <a:pt x="232" y="180"/>
                    <a:pt x="232" y="202"/>
                  </a:cubicBezTo>
                  <a:cubicBezTo>
                    <a:pt x="232" y="245"/>
                    <a:pt x="241" y="281"/>
                    <a:pt x="262" y="303"/>
                  </a:cubicBezTo>
                  <a:cubicBezTo>
                    <a:pt x="274" y="316"/>
                    <a:pt x="290" y="323"/>
                    <a:pt x="309" y="323"/>
                  </a:cubicBezTo>
                  <a:cubicBezTo>
                    <a:pt x="332" y="323"/>
                    <a:pt x="351" y="313"/>
                    <a:pt x="362" y="295"/>
                  </a:cubicBezTo>
                  <a:cubicBezTo>
                    <a:pt x="362" y="295"/>
                    <a:pt x="365" y="305"/>
                    <a:pt x="370" y="310"/>
                  </a:cubicBezTo>
                  <a:cubicBezTo>
                    <a:pt x="376" y="318"/>
                    <a:pt x="385" y="322"/>
                    <a:pt x="398" y="322"/>
                  </a:cubicBezTo>
                  <a:cubicBezTo>
                    <a:pt x="422" y="322"/>
                    <a:pt x="436" y="314"/>
                    <a:pt x="436" y="295"/>
                  </a:cubicBezTo>
                  <a:cubicBezTo>
                    <a:pt x="436" y="291"/>
                    <a:pt x="435" y="285"/>
                    <a:pt x="433" y="283"/>
                  </a:cubicBezTo>
                  <a:cubicBezTo>
                    <a:pt x="426" y="283"/>
                    <a:pt x="426" y="283"/>
                    <a:pt x="426" y="283"/>
                  </a:cubicBezTo>
                  <a:cubicBezTo>
                    <a:pt x="421" y="283"/>
                    <a:pt x="418" y="282"/>
                    <a:pt x="416" y="281"/>
                  </a:cubicBezTo>
                  <a:cubicBezTo>
                    <a:pt x="414" y="278"/>
                    <a:pt x="413" y="273"/>
                    <a:pt x="413" y="264"/>
                  </a:cubicBezTo>
                  <a:cubicBezTo>
                    <a:pt x="413" y="96"/>
                    <a:pt x="413" y="96"/>
                    <a:pt x="413" y="96"/>
                  </a:cubicBezTo>
                  <a:lnTo>
                    <a:pt x="385" y="96"/>
                  </a:lnTo>
                  <a:close/>
                  <a:moveTo>
                    <a:pt x="323" y="277"/>
                  </a:moveTo>
                  <a:cubicBezTo>
                    <a:pt x="315" y="277"/>
                    <a:pt x="309" y="274"/>
                    <a:pt x="303" y="269"/>
                  </a:cubicBezTo>
                  <a:cubicBezTo>
                    <a:pt x="288" y="253"/>
                    <a:pt x="287" y="219"/>
                    <a:pt x="287" y="206"/>
                  </a:cubicBezTo>
                  <a:cubicBezTo>
                    <a:pt x="287" y="175"/>
                    <a:pt x="293" y="137"/>
                    <a:pt x="323" y="137"/>
                  </a:cubicBezTo>
                  <a:cubicBezTo>
                    <a:pt x="332" y="137"/>
                    <a:pt x="339" y="139"/>
                    <a:pt x="345" y="145"/>
                  </a:cubicBezTo>
                  <a:cubicBezTo>
                    <a:pt x="357" y="158"/>
                    <a:pt x="358" y="185"/>
                    <a:pt x="358" y="206"/>
                  </a:cubicBezTo>
                  <a:cubicBezTo>
                    <a:pt x="358" y="213"/>
                    <a:pt x="358" y="213"/>
                    <a:pt x="358" y="213"/>
                  </a:cubicBezTo>
                  <a:cubicBezTo>
                    <a:pt x="357" y="241"/>
                    <a:pt x="350" y="277"/>
                    <a:pt x="323" y="2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34" name="Freeform 6"/>
            <p:cNvSpPr>
              <a:spLocks noSelect="1"/>
            </p:cNvSpPr>
            <p:nvPr/>
          </p:nvSpPr>
          <p:spPr bwMode="gray">
            <a:xfrm>
              <a:off x="636" y="4062"/>
              <a:ext cx="109" cy="97"/>
            </a:xfrm>
            <a:custGeom>
              <a:avLst/>
              <a:gdLst>
                <a:gd name="T0" fmla="*/ 89 w 291"/>
                <a:gd name="T1" fmla="*/ 200 h 259"/>
                <a:gd name="T2" fmla="*/ 290 w 291"/>
                <a:gd name="T3" fmla="*/ 241 h 259"/>
                <a:gd name="T4" fmla="*/ 201 w 291"/>
                <a:gd name="T5" fmla="*/ 59 h 259"/>
                <a:gd name="T6" fmla="*/ 1 w 291"/>
                <a:gd name="T7" fmla="*/ 18 h 259"/>
                <a:gd name="T8" fmla="*/ 89 w 291"/>
                <a:gd name="T9" fmla="*/ 200 h 259"/>
              </a:gdLst>
              <a:ahLst/>
              <a:cxnLst>
                <a:cxn ang="0">
                  <a:pos x="T0" y="T1"/>
                </a:cxn>
                <a:cxn ang="0">
                  <a:pos x="T2" y="T3"/>
                </a:cxn>
                <a:cxn ang="0">
                  <a:pos x="T4" y="T5"/>
                </a:cxn>
                <a:cxn ang="0">
                  <a:pos x="T6" y="T7"/>
                </a:cxn>
                <a:cxn ang="0">
                  <a:pos x="T8" y="T9"/>
                </a:cxn>
              </a:cxnLst>
              <a:rect l="0" t="0" r="r" b="b"/>
              <a:pathLst>
                <a:path w="291" h="259">
                  <a:moveTo>
                    <a:pt x="89" y="200"/>
                  </a:moveTo>
                  <a:cubicBezTo>
                    <a:pt x="148" y="246"/>
                    <a:pt x="222" y="259"/>
                    <a:pt x="290" y="241"/>
                  </a:cubicBezTo>
                  <a:cubicBezTo>
                    <a:pt x="291" y="172"/>
                    <a:pt x="260" y="104"/>
                    <a:pt x="201" y="59"/>
                  </a:cubicBezTo>
                  <a:cubicBezTo>
                    <a:pt x="142" y="13"/>
                    <a:pt x="68" y="0"/>
                    <a:pt x="1" y="18"/>
                  </a:cubicBezTo>
                  <a:cubicBezTo>
                    <a:pt x="0" y="87"/>
                    <a:pt x="30" y="155"/>
                    <a:pt x="89" y="20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35" name="Freeform 7"/>
            <p:cNvSpPr>
              <a:spLocks noSelect="1"/>
            </p:cNvSpPr>
            <p:nvPr/>
          </p:nvSpPr>
          <p:spPr bwMode="gray">
            <a:xfrm>
              <a:off x="713" y="3938"/>
              <a:ext cx="49" cy="82"/>
            </a:xfrm>
            <a:custGeom>
              <a:avLst/>
              <a:gdLst>
                <a:gd name="T0" fmla="*/ 10 w 130"/>
                <a:gd name="T1" fmla="*/ 97 h 218"/>
                <a:gd name="T2" fmla="*/ 40 w 130"/>
                <a:gd name="T3" fmla="*/ 218 h 218"/>
                <a:gd name="T4" fmla="*/ 120 w 130"/>
                <a:gd name="T5" fmla="*/ 121 h 218"/>
                <a:gd name="T6" fmla="*/ 89 w 130"/>
                <a:gd name="T7" fmla="*/ 0 h 218"/>
                <a:gd name="T8" fmla="*/ 10 w 130"/>
                <a:gd name="T9" fmla="*/ 97 h 218"/>
              </a:gdLst>
              <a:ahLst/>
              <a:cxnLst>
                <a:cxn ang="0">
                  <a:pos x="T0" y="T1"/>
                </a:cxn>
                <a:cxn ang="0">
                  <a:pos x="T2" y="T3"/>
                </a:cxn>
                <a:cxn ang="0">
                  <a:pos x="T4" y="T5"/>
                </a:cxn>
                <a:cxn ang="0">
                  <a:pos x="T6" y="T7"/>
                </a:cxn>
                <a:cxn ang="0">
                  <a:pos x="T8" y="T9"/>
                </a:cxn>
              </a:cxnLst>
              <a:rect l="0" t="0" r="r" b="b"/>
              <a:pathLst>
                <a:path w="130" h="218">
                  <a:moveTo>
                    <a:pt x="10" y="97"/>
                  </a:moveTo>
                  <a:cubicBezTo>
                    <a:pt x="0" y="142"/>
                    <a:pt x="12" y="186"/>
                    <a:pt x="40" y="218"/>
                  </a:cubicBezTo>
                  <a:cubicBezTo>
                    <a:pt x="79" y="201"/>
                    <a:pt x="110" y="166"/>
                    <a:pt x="120" y="121"/>
                  </a:cubicBezTo>
                  <a:cubicBezTo>
                    <a:pt x="130" y="77"/>
                    <a:pt x="117" y="32"/>
                    <a:pt x="89" y="0"/>
                  </a:cubicBezTo>
                  <a:cubicBezTo>
                    <a:pt x="50" y="18"/>
                    <a:pt x="20" y="52"/>
                    <a:pt x="10" y="9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36" name="Freeform 8"/>
            <p:cNvSpPr>
              <a:spLocks noSelect="1"/>
            </p:cNvSpPr>
            <p:nvPr/>
          </p:nvSpPr>
          <p:spPr bwMode="gray">
            <a:xfrm>
              <a:off x="737" y="3996"/>
              <a:ext cx="72" cy="110"/>
            </a:xfrm>
            <a:custGeom>
              <a:avLst/>
              <a:gdLst>
                <a:gd name="T0" fmla="*/ 22 w 190"/>
                <a:gd name="T1" fmla="*/ 120 h 292"/>
                <a:gd name="T2" fmla="*/ 42 w 190"/>
                <a:gd name="T3" fmla="*/ 292 h 292"/>
                <a:gd name="T4" fmla="*/ 168 w 190"/>
                <a:gd name="T5" fmla="*/ 172 h 292"/>
                <a:gd name="T6" fmla="*/ 148 w 190"/>
                <a:gd name="T7" fmla="*/ 0 h 292"/>
                <a:gd name="T8" fmla="*/ 22 w 190"/>
                <a:gd name="T9" fmla="*/ 120 h 292"/>
              </a:gdLst>
              <a:ahLst/>
              <a:cxnLst>
                <a:cxn ang="0">
                  <a:pos x="T0" y="T1"/>
                </a:cxn>
                <a:cxn ang="0">
                  <a:pos x="T2" y="T3"/>
                </a:cxn>
                <a:cxn ang="0">
                  <a:pos x="T4" y="T5"/>
                </a:cxn>
                <a:cxn ang="0">
                  <a:pos x="T6" y="T7"/>
                </a:cxn>
                <a:cxn ang="0">
                  <a:pos x="T8" y="T9"/>
                </a:cxn>
              </a:cxnLst>
              <a:rect l="0" t="0" r="r" b="b"/>
              <a:pathLst>
                <a:path w="190" h="292">
                  <a:moveTo>
                    <a:pt x="22" y="120"/>
                  </a:moveTo>
                  <a:cubicBezTo>
                    <a:pt x="0" y="180"/>
                    <a:pt x="10" y="243"/>
                    <a:pt x="42" y="292"/>
                  </a:cubicBezTo>
                  <a:cubicBezTo>
                    <a:pt x="99" y="275"/>
                    <a:pt x="147" y="232"/>
                    <a:pt x="168" y="172"/>
                  </a:cubicBezTo>
                  <a:cubicBezTo>
                    <a:pt x="190" y="113"/>
                    <a:pt x="180" y="50"/>
                    <a:pt x="148" y="0"/>
                  </a:cubicBezTo>
                  <a:cubicBezTo>
                    <a:pt x="91" y="18"/>
                    <a:pt x="44" y="61"/>
                    <a:pt x="22"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37" name="Freeform 9"/>
            <p:cNvSpPr>
              <a:spLocks noSelect="1"/>
            </p:cNvSpPr>
            <p:nvPr/>
          </p:nvSpPr>
          <p:spPr bwMode="gray">
            <a:xfrm>
              <a:off x="634" y="3982"/>
              <a:ext cx="74" cy="71"/>
            </a:xfrm>
            <a:custGeom>
              <a:avLst/>
              <a:gdLst>
                <a:gd name="T0" fmla="*/ 54 w 196"/>
                <a:gd name="T1" fmla="*/ 139 h 188"/>
                <a:gd name="T2" fmla="*/ 191 w 196"/>
                <a:gd name="T3" fmla="*/ 180 h 188"/>
                <a:gd name="T4" fmla="*/ 142 w 196"/>
                <a:gd name="T5" fmla="*/ 48 h 188"/>
                <a:gd name="T6" fmla="*/ 5 w 196"/>
                <a:gd name="T7" fmla="*/ 8 h 188"/>
                <a:gd name="T8" fmla="*/ 54 w 196"/>
                <a:gd name="T9" fmla="*/ 139 h 188"/>
              </a:gdLst>
              <a:ahLst/>
              <a:cxnLst>
                <a:cxn ang="0">
                  <a:pos x="T0" y="T1"/>
                </a:cxn>
                <a:cxn ang="0">
                  <a:pos x="T2" y="T3"/>
                </a:cxn>
                <a:cxn ang="0">
                  <a:pos x="T4" y="T5"/>
                </a:cxn>
                <a:cxn ang="0">
                  <a:pos x="T6" y="T7"/>
                </a:cxn>
                <a:cxn ang="0">
                  <a:pos x="T8" y="T9"/>
                </a:cxn>
              </a:cxnLst>
              <a:rect l="0" t="0" r="r" b="b"/>
              <a:pathLst>
                <a:path w="196" h="188">
                  <a:moveTo>
                    <a:pt x="54" y="139"/>
                  </a:moveTo>
                  <a:cubicBezTo>
                    <a:pt x="93" y="174"/>
                    <a:pt x="143" y="188"/>
                    <a:pt x="191" y="180"/>
                  </a:cubicBezTo>
                  <a:cubicBezTo>
                    <a:pt x="196" y="132"/>
                    <a:pt x="180" y="83"/>
                    <a:pt x="142" y="48"/>
                  </a:cubicBezTo>
                  <a:cubicBezTo>
                    <a:pt x="103" y="13"/>
                    <a:pt x="53" y="0"/>
                    <a:pt x="5" y="8"/>
                  </a:cubicBezTo>
                  <a:cubicBezTo>
                    <a:pt x="0" y="55"/>
                    <a:pt x="16" y="104"/>
                    <a:pt x="54" y="1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grpSp>
      <p:sp>
        <p:nvSpPr>
          <p:cNvPr id="14" name="Streep (PHJU)"/>
          <p:cNvSpPr>
            <a:spLocks noGrp="1" noSelect="1"/>
          </p:cNvSpPr>
          <p:nvPr>
            <p:ph type="body" idx="1003" hasCustomPrompt="1"/>
          </p:nvPr>
        </p:nvSpPr>
        <p:spPr bwMode="gray">
          <a:xfrm>
            <a:off x="604520" y="2233449"/>
            <a:ext cx="1209040" cy="52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Tree>
    <p:extLst>
      <p:ext uri="{BB962C8B-B14F-4D97-AF65-F5344CB8AC3E}">
        <p14:creationId xmlns:p14="http://schemas.microsoft.com/office/powerpoint/2010/main" val="12860002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and content (sun yellow)">
    <p:bg>
      <p:bgPr>
        <a:solidFill>
          <a:srgbClr val="F09200"/>
        </a:solidFill>
        <a:effectLst/>
      </p:bgPr>
    </p:bg>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invGray"/>
        <p:txBody>
          <a:bodyPr/>
          <a:lstStyle>
            <a:lvl1pPr>
              <a:defRPr>
                <a:solidFill>
                  <a:schemeClr val="bg1"/>
                </a:solidFill>
              </a:defRPr>
            </a:lvl1pPr>
          </a:lstStyle>
          <a:p>
            <a:r>
              <a:rPr lang="en-GB" noProof="1"/>
              <a:t>[Title]</a:t>
            </a:r>
          </a:p>
        </p:txBody>
      </p:sp>
      <p:sp>
        <p:nvSpPr>
          <p:cNvPr id="3" name="***Tijdelijke aanduiding voor inhoud 2"/>
          <p:cNvSpPr>
            <a:spLocks noGrp="1" noSelect="1"/>
          </p:cNvSpPr>
          <p:nvPr>
            <p:ph idx="1" hasCustomPrompt="1"/>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1"/>
              <a:t>[Type text or click on icon to insert an object]</a:t>
            </a:r>
          </a:p>
        </p:txBody>
      </p:sp>
      <p:sp>
        <p:nvSpPr>
          <p:cNvPr id="7" name="***Tijdelijke aanduiding voor voettekst 6"/>
          <p:cNvSpPr>
            <a:spLocks noGrp="1" noSelect="1"/>
          </p:cNvSpPr>
          <p:nvPr>
            <p:ph type="ftr" sz="quarter" idx="10"/>
          </p:nvPr>
        </p:nvSpPr>
        <p:spPr bwMode="invGray"/>
        <p:txBody>
          <a:bodyPr/>
          <a:lstStyle>
            <a:lvl1pPr>
              <a:defRPr>
                <a:solidFill>
                  <a:schemeClr val="bg1"/>
                </a:solidFill>
              </a:defRPr>
            </a:lvl1pPr>
          </a:lstStyle>
          <a:p>
            <a:endParaRPr lang="en-US"/>
          </a:p>
        </p:txBody>
      </p:sp>
      <p:sp>
        <p:nvSpPr>
          <p:cNvPr id="8" name="***Tijdelijke aanduiding voor dianummer 7"/>
          <p:cNvSpPr>
            <a:spLocks noGrp="1" noSelect="1"/>
          </p:cNvSpPr>
          <p:nvPr>
            <p:ph type="sldNum" sz="quarter" idx="11"/>
          </p:nvPr>
        </p:nvSpPr>
        <p:spPr bwMode="invGray"/>
        <p:txBody>
          <a:bodyPr/>
          <a:lstStyle>
            <a:lvl1pPr>
              <a:defRPr>
                <a:solidFill>
                  <a:schemeClr val="bg1"/>
                </a:solidFill>
              </a:defRPr>
            </a:lvl1pPr>
          </a:lstStyle>
          <a:p>
            <a:fld id="{ADECF1AC-24A7-42A4-9FAC-3CE63B9FFA68}" type="slidenum">
              <a:rPr lang="en-US" smtClean="0"/>
              <a:t>‹#›</a:t>
            </a:fld>
            <a:endParaRPr lang="en-US"/>
          </a:p>
        </p:txBody>
      </p:sp>
      <p:grpSp>
        <p:nvGrpSpPr>
          <p:cNvPr id="14" name="Group 4"/>
          <p:cNvGrpSpPr>
            <a:grpSpLocks noSelect="1" noChangeAspect="1"/>
          </p:cNvGrpSpPr>
          <p:nvPr/>
        </p:nvGrpSpPr>
        <p:grpSpPr bwMode="gray">
          <a:xfrm>
            <a:off x="636480" y="9472321"/>
            <a:ext cx="1211760" cy="388307"/>
            <a:chOff x="634" y="3938"/>
            <a:chExt cx="1190" cy="221"/>
          </a:xfrm>
          <a:solidFill>
            <a:schemeClr val="bg1"/>
          </a:solidFill>
        </p:grpSpPr>
        <p:sp>
          <p:nvSpPr>
            <p:cNvPr id="15" name="Freeform 5"/>
            <p:cNvSpPr>
              <a:spLocks noSelect="1"/>
            </p:cNvSpPr>
            <p:nvPr/>
          </p:nvSpPr>
          <p:spPr bwMode="gray">
            <a:xfrm>
              <a:off x="845" y="3995"/>
              <a:ext cx="979" cy="122"/>
            </a:xfrm>
            <a:custGeom>
              <a:avLst/>
              <a:gdLst>
                <a:gd name="T0" fmla="*/ 1067 w 2611"/>
                <a:gd name="T1" fmla="*/ 265 h 324"/>
                <a:gd name="T2" fmla="*/ 936 w 2611"/>
                <a:gd name="T3" fmla="*/ 297 h 324"/>
                <a:gd name="T4" fmla="*/ 1080 w 2611"/>
                <a:gd name="T5" fmla="*/ 166 h 324"/>
                <a:gd name="T6" fmla="*/ 1029 w 2611"/>
                <a:gd name="T7" fmla="*/ 165 h 324"/>
                <a:gd name="T8" fmla="*/ 994 w 2611"/>
                <a:gd name="T9" fmla="*/ 198 h 324"/>
                <a:gd name="T10" fmla="*/ 2292 w 2611"/>
                <a:gd name="T11" fmla="*/ 265 h 324"/>
                <a:gd name="T12" fmla="*/ 2161 w 2611"/>
                <a:gd name="T13" fmla="*/ 297 h 324"/>
                <a:gd name="T14" fmla="*/ 2305 w 2611"/>
                <a:gd name="T15" fmla="*/ 166 h 324"/>
                <a:gd name="T16" fmla="*/ 2254 w 2611"/>
                <a:gd name="T17" fmla="*/ 165 h 324"/>
                <a:gd name="T18" fmla="*/ 2219 w 2611"/>
                <a:gd name="T19" fmla="*/ 198 h 324"/>
                <a:gd name="T20" fmla="*/ 2598 w 2611"/>
                <a:gd name="T21" fmla="*/ 265 h 324"/>
                <a:gd name="T22" fmla="*/ 2466 w 2611"/>
                <a:gd name="T23" fmla="*/ 297 h 324"/>
                <a:gd name="T24" fmla="*/ 2611 w 2611"/>
                <a:gd name="T25" fmla="*/ 166 h 324"/>
                <a:gd name="T26" fmla="*/ 2560 w 2611"/>
                <a:gd name="T27" fmla="*/ 165 h 324"/>
                <a:gd name="T28" fmla="*/ 2525 w 2611"/>
                <a:gd name="T29" fmla="*/ 198 h 324"/>
                <a:gd name="T30" fmla="*/ 1611 w 2611"/>
                <a:gd name="T31" fmla="*/ 208 h 324"/>
                <a:gd name="T32" fmla="*/ 1516 w 2611"/>
                <a:gd name="T33" fmla="*/ 136 h 324"/>
                <a:gd name="T34" fmla="*/ 1640 w 2611"/>
                <a:gd name="T35" fmla="*/ 208 h 324"/>
                <a:gd name="T36" fmla="*/ 1735 w 2611"/>
                <a:gd name="T37" fmla="*/ 279 h 324"/>
                <a:gd name="T38" fmla="*/ 1735 w 2611"/>
                <a:gd name="T39" fmla="*/ 279 h 324"/>
                <a:gd name="T40" fmla="*/ 119 w 2611"/>
                <a:gd name="T41" fmla="*/ 247 h 324"/>
                <a:gd name="T42" fmla="*/ 0 w 2611"/>
                <a:gd name="T43" fmla="*/ 13 h 324"/>
                <a:gd name="T44" fmla="*/ 151 w 2611"/>
                <a:gd name="T45" fmla="*/ 312 h 324"/>
                <a:gd name="T46" fmla="*/ 840 w 2611"/>
                <a:gd name="T47" fmla="*/ 1 h 324"/>
                <a:gd name="T48" fmla="*/ 766 w 2611"/>
                <a:gd name="T49" fmla="*/ 91 h 324"/>
                <a:gd name="T50" fmla="*/ 760 w 2611"/>
                <a:gd name="T51" fmla="*/ 323 h 324"/>
                <a:gd name="T52" fmla="*/ 888 w 2611"/>
                <a:gd name="T53" fmla="*/ 295 h 324"/>
                <a:gd name="T54" fmla="*/ 864 w 2611"/>
                <a:gd name="T55" fmla="*/ 264 h 324"/>
                <a:gd name="T56" fmla="*/ 738 w 2611"/>
                <a:gd name="T57" fmla="*/ 206 h 324"/>
                <a:gd name="T58" fmla="*/ 810 w 2611"/>
                <a:gd name="T59" fmla="*/ 213 h 324"/>
                <a:gd name="T60" fmla="*/ 642 w 2611"/>
                <a:gd name="T61" fmla="*/ 281 h 324"/>
                <a:gd name="T62" fmla="*/ 523 w 2611"/>
                <a:gd name="T63" fmla="*/ 115 h 324"/>
                <a:gd name="T64" fmla="*/ 470 w 2611"/>
                <a:gd name="T65" fmla="*/ 150 h 324"/>
                <a:gd name="T66" fmla="*/ 525 w 2611"/>
                <a:gd name="T67" fmla="*/ 316 h 324"/>
                <a:gd name="T68" fmla="*/ 557 w 2611"/>
                <a:gd name="T69" fmla="*/ 138 h 324"/>
                <a:gd name="T70" fmla="*/ 624 w 2611"/>
                <a:gd name="T71" fmla="*/ 322 h 324"/>
                <a:gd name="T72" fmla="*/ 1394 w 2611"/>
                <a:gd name="T73" fmla="*/ 283 h 324"/>
                <a:gd name="T74" fmla="*/ 1315 w 2611"/>
                <a:gd name="T75" fmla="*/ 94 h 324"/>
                <a:gd name="T76" fmla="*/ 1166 w 2611"/>
                <a:gd name="T77" fmla="*/ 117 h 324"/>
                <a:gd name="T78" fmla="*/ 1113 w 2611"/>
                <a:gd name="T79" fmla="*/ 299 h 324"/>
                <a:gd name="T80" fmla="*/ 1195 w 2611"/>
                <a:gd name="T81" fmla="*/ 140 h 324"/>
                <a:gd name="T82" fmla="*/ 1245 w 2611"/>
                <a:gd name="T83" fmla="*/ 322 h 324"/>
                <a:gd name="T84" fmla="*/ 1318 w 2611"/>
                <a:gd name="T85" fmla="*/ 147 h 324"/>
                <a:gd name="T86" fmla="*/ 1367 w 2611"/>
                <a:gd name="T87" fmla="*/ 322 h 324"/>
                <a:gd name="T88" fmla="*/ 1889 w 2611"/>
                <a:gd name="T89" fmla="*/ 322 h 324"/>
                <a:gd name="T90" fmla="*/ 1971 w 2611"/>
                <a:gd name="T91" fmla="*/ 146 h 324"/>
                <a:gd name="T92" fmla="*/ 1915 w 2611"/>
                <a:gd name="T93" fmla="*/ 110 h 324"/>
                <a:gd name="T94" fmla="*/ 1864 w 2611"/>
                <a:gd name="T95" fmla="*/ 299 h 324"/>
                <a:gd name="T96" fmla="*/ 2079 w 2611"/>
                <a:gd name="T97" fmla="*/ 277 h 324"/>
                <a:gd name="T98" fmla="*/ 2112 w 2611"/>
                <a:gd name="T99" fmla="*/ 114 h 324"/>
                <a:gd name="T100" fmla="*/ 2038 w 2611"/>
                <a:gd name="T101" fmla="*/ 46 h 324"/>
                <a:gd name="T102" fmla="*/ 2064 w 2611"/>
                <a:gd name="T103" fmla="*/ 323 h 324"/>
                <a:gd name="T104" fmla="*/ 2379 w 2611"/>
                <a:gd name="T105" fmla="*/ 323 h 324"/>
                <a:gd name="T106" fmla="*/ 2397 w 2611"/>
                <a:gd name="T107" fmla="*/ 281 h 324"/>
                <a:gd name="T108" fmla="*/ 2369 w 2611"/>
                <a:gd name="T109" fmla="*/ 1 h 324"/>
                <a:gd name="T110" fmla="*/ 385 w 2611"/>
                <a:gd name="T111" fmla="*/ 96 h 324"/>
                <a:gd name="T112" fmla="*/ 232 w 2611"/>
                <a:gd name="T113" fmla="*/ 202 h 324"/>
                <a:gd name="T114" fmla="*/ 370 w 2611"/>
                <a:gd name="T115" fmla="*/ 310 h 324"/>
                <a:gd name="T116" fmla="*/ 426 w 2611"/>
                <a:gd name="T117" fmla="*/ 283 h 324"/>
                <a:gd name="T118" fmla="*/ 385 w 2611"/>
                <a:gd name="T119" fmla="*/ 96 h 324"/>
                <a:gd name="T120" fmla="*/ 323 w 2611"/>
                <a:gd name="T121" fmla="*/ 137 h 324"/>
                <a:gd name="T122" fmla="*/ 323 w 2611"/>
                <a:gd name="T123" fmla="*/ 277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11" h="324">
                  <a:moveTo>
                    <a:pt x="961" y="232"/>
                  </a:moveTo>
                  <a:cubicBezTo>
                    <a:pt x="966" y="262"/>
                    <a:pt x="982" y="279"/>
                    <a:pt x="1010" y="279"/>
                  </a:cubicBezTo>
                  <a:cubicBezTo>
                    <a:pt x="1026" y="279"/>
                    <a:pt x="1042" y="274"/>
                    <a:pt x="1054" y="270"/>
                  </a:cubicBezTo>
                  <a:cubicBezTo>
                    <a:pt x="1060" y="268"/>
                    <a:pt x="1067" y="265"/>
                    <a:pt x="1067" y="265"/>
                  </a:cubicBezTo>
                  <a:cubicBezTo>
                    <a:pt x="1067" y="265"/>
                    <a:pt x="1074" y="274"/>
                    <a:pt x="1074" y="282"/>
                  </a:cubicBezTo>
                  <a:cubicBezTo>
                    <a:pt x="1075" y="292"/>
                    <a:pt x="1073" y="300"/>
                    <a:pt x="1064" y="307"/>
                  </a:cubicBezTo>
                  <a:cubicBezTo>
                    <a:pt x="1051" y="318"/>
                    <a:pt x="1028" y="324"/>
                    <a:pt x="1005" y="324"/>
                  </a:cubicBezTo>
                  <a:cubicBezTo>
                    <a:pt x="975" y="324"/>
                    <a:pt x="952" y="315"/>
                    <a:pt x="936" y="297"/>
                  </a:cubicBezTo>
                  <a:cubicBezTo>
                    <a:pt x="916" y="276"/>
                    <a:pt x="907" y="244"/>
                    <a:pt x="907" y="201"/>
                  </a:cubicBezTo>
                  <a:cubicBezTo>
                    <a:pt x="909" y="130"/>
                    <a:pt x="940" y="91"/>
                    <a:pt x="995" y="91"/>
                  </a:cubicBezTo>
                  <a:cubicBezTo>
                    <a:pt x="1025" y="91"/>
                    <a:pt x="1049" y="98"/>
                    <a:pt x="1064" y="114"/>
                  </a:cubicBezTo>
                  <a:cubicBezTo>
                    <a:pt x="1076" y="127"/>
                    <a:pt x="1080" y="145"/>
                    <a:pt x="1080" y="166"/>
                  </a:cubicBezTo>
                  <a:cubicBezTo>
                    <a:pt x="1078" y="210"/>
                    <a:pt x="1045" y="234"/>
                    <a:pt x="997" y="234"/>
                  </a:cubicBezTo>
                  <a:cubicBezTo>
                    <a:pt x="985" y="234"/>
                    <a:pt x="974" y="233"/>
                    <a:pt x="961" y="232"/>
                  </a:cubicBezTo>
                  <a:moveTo>
                    <a:pt x="994" y="198"/>
                  </a:moveTo>
                  <a:cubicBezTo>
                    <a:pt x="1018" y="198"/>
                    <a:pt x="1029" y="187"/>
                    <a:pt x="1029" y="165"/>
                  </a:cubicBezTo>
                  <a:cubicBezTo>
                    <a:pt x="1030" y="154"/>
                    <a:pt x="1027" y="144"/>
                    <a:pt x="1022" y="139"/>
                  </a:cubicBezTo>
                  <a:cubicBezTo>
                    <a:pt x="1017" y="133"/>
                    <a:pt x="1010" y="130"/>
                    <a:pt x="1000" y="130"/>
                  </a:cubicBezTo>
                  <a:cubicBezTo>
                    <a:pt x="974" y="130"/>
                    <a:pt x="962" y="153"/>
                    <a:pt x="961" y="197"/>
                  </a:cubicBezTo>
                  <a:cubicBezTo>
                    <a:pt x="975" y="198"/>
                    <a:pt x="982" y="198"/>
                    <a:pt x="994" y="198"/>
                  </a:cubicBezTo>
                  <a:moveTo>
                    <a:pt x="2186" y="232"/>
                  </a:moveTo>
                  <a:cubicBezTo>
                    <a:pt x="2191" y="262"/>
                    <a:pt x="2207" y="279"/>
                    <a:pt x="2235" y="279"/>
                  </a:cubicBezTo>
                  <a:cubicBezTo>
                    <a:pt x="2251" y="279"/>
                    <a:pt x="2267" y="274"/>
                    <a:pt x="2279" y="270"/>
                  </a:cubicBezTo>
                  <a:cubicBezTo>
                    <a:pt x="2285" y="268"/>
                    <a:pt x="2292" y="265"/>
                    <a:pt x="2292" y="265"/>
                  </a:cubicBezTo>
                  <a:cubicBezTo>
                    <a:pt x="2292" y="265"/>
                    <a:pt x="2299" y="274"/>
                    <a:pt x="2299" y="282"/>
                  </a:cubicBezTo>
                  <a:cubicBezTo>
                    <a:pt x="2300" y="292"/>
                    <a:pt x="2298" y="300"/>
                    <a:pt x="2289" y="307"/>
                  </a:cubicBezTo>
                  <a:cubicBezTo>
                    <a:pt x="2276" y="318"/>
                    <a:pt x="2253" y="324"/>
                    <a:pt x="2229" y="324"/>
                  </a:cubicBezTo>
                  <a:cubicBezTo>
                    <a:pt x="2200" y="324"/>
                    <a:pt x="2177" y="315"/>
                    <a:pt x="2161" y="297"/>
                  </a:cubicBezTo>
                  <a:cubicBezTo>
                    <a:pt x="2141" y="276"/>
                    <a:pt x="2131" y="244"/>
                    <a:pt x="2132" y="201"/>
                  </a:cubicBezTo>
                  <a:cubicBezTo>
                    <a:pt x="2134" y="130"/>
                    <a:pt x="2165" y="91"/>
                    <a:pt x="2220" y="91"/>
                  </a:cubicBezTo>
                  <a:cubicBezTo>
                    <a:pt x="2250" y="91"/>
                    <a:pt x="2274" y="98"/>
                    <a:pt x="2289" y="114"/>
                  </a:cubicBezTo>
                  <a:cubicBezTo>
                    <a:pt x="2301" y="127"/>
                    <a:pt x="2305" y="145"/>
                    <a:pt x="2305" y="166"/>
                  </a:cubicBezTo>
                  <a:cubicBezTo>
                    <a:pt x="2303" y="210"/>
                    <a:pt x="2270" y="234"/>
                    <a:pt x="2222" y="234"/>
                  </a:cubicBezTo>
                  <a:cubicBezTo>
                    <a:pt x="2210" y="234"/>
                    <a:pt x="2199" y="233"/>
                    <a:pt x="2186" y="232"/>
                  </a:cubicBezTo>
                  <a:moveTo>
                    <a:pt x="2219" y="198"/>
                  </a:moveTo>
                  <a:cubicBezTo>
                    <a:pt x="2243" y="198"/>
                    <a:pt x="2254" y="187"/>
                    <a:pt x="2254" y="165"/>
                  </a:cubicBezTo>
                  <a:cubicBezTo>
                    <a:pt x="2255" y="154"/>
                    <a:pt x="2252" y="144"/>
                    <a:pt x="2247" y="139"/>
                  </a:cubicBezTo>
                  <a:cubicBezTo>
                    <a:pt x="2242" y="133"/>
                    <a:pt x="2235" y="130"/>
                    <a:pt x="2225" y="130"/>
                  </a:cubicBezTo>
                  <a:cubicBezTo>
                    <a:pt x="2199" y="130"/>
                    <a:pt x="2187" y="153"/>
                    <a:pt x="2186" y="197"/>
                  </a:cubicBezTo>
                  <a:cubicBezTo>
                    <a:pt x="2200" y="198"/>
                    <a:pt x="2207" y="198"/>
                    <a:pt x="2219" y="198"/>
                  </a:cubicBezTo>
                  <a:moveTo>
                    <a:pt x="2492" y="232"/>
                  </a:moveTo>
                  <a:cubicBezTo>
                    <a:pt x="2497" y="262"/>
                    <a:pt x="2513" y="279"/>
                    <a:pt x="2541" y="279"/>
                  </a:cubicBezTo>
                  <a:cubicBezTo>
                    <a:pt x="2557" y="279"/>
                    <a:pt x="2573" y="274"/>
                    <a:pt x="2585" y="270"/>
                  </a:cubicBezTo>
                  <a:cubicBezTo>
                    <a:pt x="2591" y="268"/>
                    <a:pt x="2598" y="265"/>
                    <a:pt x="2598" y="265"/>
                  </a:cubicBezTo>
                  <a:cubicBezTo>
                    <a:pt x="2598" y="265"/>
                    <a:pt x="2605" y="274"/>
                    <a:pt x="2605" y="282"/>
                  </a:cubicBezTo>
                  <a:cubicBezTo>
                    <a:pt x="2606" y="292"/>
                    <a:pt x="2604" y="300"/>
                    <a:pt x="2594" y="307"/>
                  </a:cubicBezTo>
                  <a:cubicBezTo>
                    <a:pt x="2582" y="318"/>
                    <a:pt x="2559" y="324"/>
                    <a:pt x="2535" y="324"/>
                  </a:cubicBezTo>
                  <a:cubicBezTo>
                    <a:pt x="2506" y="324"/>
                    <a:pt x="2483" y="315"/>
                    <a:pt x="2466" y="297"/>
                  </a:cubicBezTo>
                  <a:cubicBezTo>
                    <a:pt x="2447" y="276"/>
                    <a:pt x="2437" y="244"/>
                    <a:pt x="2438" y="201"/>
                  </a:cubicBezTo>
                  <a:cubicBezTo>
                    <a:pt x="2439" y="130"/>
                    <a:pt x="2471" y="91"/>
                    <a:pt x="2526" y="91"/>
                  </a:cubicBezTo>
                  <a:cubicBezTo>
                    <a:pt x="2556" y="91"/>
                    <a:pt x="2580" y="98"/>
                    <a:pt x="2594" y="114"/>
                  </a:cubicBezTo>
                  <a:cubicBezTo>
                    <a:pt x="2607" y="127"/>
                    <a:pt x="2611" y="145"/>
                    <a:pt x="2611" y="166"/>
                  </a:cubicBezTo>
                  <a:cubicBezTo>
                    <a:pt x="2609" y="210"/>
                    <a:pt x="2576" y="234"/>
                    <a:pt x="2528" y="234"/>
                  </a:cubicBezTo>
                  <a:cubicBezTo>
                    <a:pt x="2516" y="234"/>
                    <a:pt x="2505" y="233"/>
                    <a:pt x="2492" y="232"/>
                  </a:cubicBezTo>
                  <a:moveTo>
                    <a:pt x="2525" y="198"/>
                  </a:moveTo>
                  <a:cubicBezTo>
                    <a:pt x="2549" y="198"/>
                    <a:pt x="2560" y="187"/>
                    <a:pt x="2560" y="165"/>
                  </a:cubicBezTo>
                  <a:cubicBezTo>
                    <a:pt x="2560" y="154"/>
                    <a:pt x="2558" y="144"/>
                    <a:pt x="2553" y="139"/>
                  </a:cubicBezTo>
                  <a:cubicBezTo>
                    <a:pt x="2548" y="133"/>
                    <a:pt x="2540" y="130"/>
                    <a:pt x="2531" y="130"/>
                  </a:cubicBezTo>
                  <a:cubicBezTo>
                    <a:pt x="2505" y="130"/>
                    <a:pt x="2493" y="153"/>
                    <a:pt x="2492" y="197"/>
                  </a:cubicBezTo>
                  <a:cubicBezTo>
                    <a:pt x="2506" y="198"/>
                    <a:pt x="2512" y="198"/>
                    <a:pt x="2525" y="198"/>
                  </a:cubicBezTo>
                  <a:moveTo>
                    <a:pt x="1516" y="91"/>
                  </a:moveTo>
                  <a:cubicBezTo>
                    <a:pt x="1481" y="91"/>
                    <a:pt x="1422" y="106"/>
                    <a:pt x="1422" y="208"/>
                  </a:cubicBezTo>
                  <a:cubicBezTo>
                    <a:pt x="1422" y="309"/>
                    <a:pt x="1481" y="324"/>
                    <a:pt x="1516" y="324"/>
                  </a:cubicBezTo>
                  <a:cubicBezTo>
                    <a:pt x="1552" y="324"/>
                    <a:pt x="1611" y="309"/>
                    <a:pt x="1611" y="208"/>
                  </a:cubicBezTo>
                  <a:cubicBezTo>
                    <a:pt x="1611" y="106"/>
                    <a:pt x="1552" y="91"/>
                    <a:pt x="1516" y="91"/>
                  </a:cubicBezTo>
                  <a:moveTo>
                    <a:pt x="1516" y="279"/>
                  </a:moveTo>
                  <a:cubicBezTo>
                    <a:pt x="1486" y="279"/>
                    <a:pt x="1478" y="239"/>
                    <a:pt x="1478" y="208"/>
                  </a:cubicBezTo>
                  <a:cubicBezTo>
                    <a:pt x="1478" y="177"/>
                    <a:pt x="1486" y="136"/>
                    <a:pt x="1516" y="136"/>
                  </a:cubicBezTo>
                  <a:cubicBezTo>
                    <a:pt x="1547" y="136"/>
                    <a:pt x="1554" y="177"/>
                    <a:pt x="1554" y="208"/>
                  </a:cubicBezTo>
                  <a:cubicBezTo>
                    <a:pt x="1554" y="239"/>
                    <a:pt x="1547" y="279"/>
                    <a:pt x="1516" y="279"/>
                  </a:cubicBezTo>
                  <a:moveTo>
                    <a:pt x="1735" y="91"/>
                  </a:moveTo>
                  <a:cubicBezTo>
                    <a:pt x="1699" y="91"/>
                    <a:pt x="1640" y="106"/>
                    <a:pt x="1640" y="208"/>
                  </a:cubicBezTo>
                  <a:cubicBezTo>
                    <a:pt x="1640" y="309"/>
                    <a:pt x="1699" y="324"/>
                    <a:pt x="1735" y="324"/>
                  </a:cubicBezTo>
                  <a:cubicBezTo>
                    <a:pt x="1770" y="324"/>
                    <a:pt x="1829" y="309"/>
                    <a:pt x="1829" y="208"/>
                  </a:cubicBezTo>
                  <a:cubicBezTo>
                    <a:pt x="1829" y="106"/>
                    <a:pt x="1770" y="91"/>
                    <a:pt x="1735" y="91"/>
                  </a:cubicBezTo>
                  <a:moveTo>
                    <a:pt x="1735" y="279"/>
                  </a:moveTo>
                  <a:cubicBezTo>
                    <a:pt x="1704" y="279"/>
                    <a:pt x="1697" y="239"/>
                    <a:pt x="1697" y="208"/>
                  </a:cubicBezTo>
                  <a:cubicBezTo>
                    <a:pt x="1697" y="177"/>
                    <a:pt x="1704" y="136"/>
                    <a:pt x="1735" y="136"/>
                  </a:cubicBezTo>
                  <a:cubicBezTo>
                    <a:pt x="1766" y="136"/>
                    <a:pt x="1772" y="177"/>
                    <a:pt x="1772" y="208"/>
                  </a:cubicBezTo>
                  <a:cubicBezTo>
                    <a:pt x="1772" y="239"/>
                    <a:pt x="1766" y="279"/>
                    <a:pt x="1735" y="279"/>
                  </a:cubicBezTo>
                  <a:moveTo>
                    <a:pt x="205" y="0"/>
                  </a:moveTo>
                  <a:cubicBezTo>
                    <a:pt x="187" y="0"/>
                    <a:pt x="175" y="4"/>
                    <a:pt x="175" y="4"/>
                  </a:cubicBezTo>
                  <a:cubicBezTo>
                    <a:pt x="137" y="160"/>
                    <a:pt x="137" y="160"/>
                    <a:pt x="137" y="160"/>
                  </a:cubicBezTo>
                  <a:cubicBezTo>
                    <a:pt x="133" y="176"/>
                    <a:pt x="123" y="222"/>
                    <a:pt x="119" y="247"/>
                  </a:cubicBezTo>
                  <a:cubicBezTo>
                    <a:pt x="115" y="221"/>
                    <a:pt x="106" y="177"/>
                    <a:pt x="101" y="160"/>
                  </a:cubicBezTo>
                  <a:cubicBezTo>
                    <a:pt x="69" y="25"/>
                    <a:pt x="69" y="25"/>
                    <a:pt x="69" y="25"/>
                  </a:cubicBezTo>
                  <a:cubicBezTo>
                    <a:pt x="65" y="9"/>
                    <a:pt x="55" y="1"/>
                    <a:pt x="39" y="1"/>
                  </a:cubicBezTo>
                  <a:cubicBezTo>
                    <a:pt x="18" y="1"/>
                    <a:pt x="4" y="10"/>
                    <a:pt x="0" y="13"/>
                  </a:cubicBezTo>
                  <a:cubicBezTo>
                    <a:pt x="4" y="19"/>
                    <a:pt x="8" y="25"/>
                    <a:pt x="13" y="42"/>
                  </a:cubicBezTo>
                  <a:cubicBezTo>
                    <a:pt x="79" y="292"/>
                    <a:pt x="79" y="292"/>
                    <a:pt x="79" y="292"/>
                  </a:cubicBezTo>
                  <a:cubicBezTo>
                    <a:pt x="84" y="312"/>
                    <a:pt x="92" y="321"/>
                    <a:pt x="106" y="321"/>
                  </a:cubicBezTo>
                  <a:cubicBezTo>
                    <a:pt x="120" y="321"/>
                    <a:pt x="134" y="321"/>
                    <a:pt x="151" y="312"/>
                  </a:cubicBezTo>
                  <a:cubicBezTo>
                    <a:pt x="226" y="29"/>
                    <a:pt x="226" y="29"/>
                    <a:pt x="226" y="29"/>
                  </a:cubicBezTo>
                  <a:cubicBezTo>
                    <a:pt x="232" y="9"/>
                    <a:pt x="220" y="0"/>
                    <a:pt x="205" y="0"/>
                  </a:cubicBezTo>
                  <a:moveTo>
                    <a:pt x="864" y="24"/>
                  </a:moveTo>
                  <a:cubicBezTo>
                    <a:pt x="864" y="7"/>
                    <a:pt x="854" y="1"/>
                    <a:pt x="840" y="1"/>
                  </a:cubicBezTo>
                  <a:cubicBezTo>
                    <a:pt x="828" y="1"/>
                    <a:pt x="813" y="3"/>
                    <a:pt x="807" y="6"/>
                  </a:cubicBezTo>
                  <a:cubicBezTo>
                    <a:pt x="811" y="13"/>
                    <a:pt x="812" y="25"/>
                    <a:pt x="812" y="35"/>
                  </a:cubicBezTo>
                  <a:cubicBezTo>
                    <a:pt x="812" y="112"/>
                    <a:pt x="812" y="112"/>
                    <a:pt x="812" y="112"/>
                  </a:cubicBezTo>
                  <a:cubicBezTo>
                    <a:pt x="799" y="99"/>
                    <a:pt x="785" y="91"/>
                    <a:pt x="766" y="91"/>
                  </a:cubicBezTo>
                  <a:cubicBezTo>
                    <a:pt x="744" y="91"/>
                    <a:pt x="726" y="98"/>
                    <a:pt x="713" y="113"/>
                  </a:cubicBezTo>
                  <a:cubicBezTo>
                    <a:pt x="689" y="138"/>
                    <a:pt x="684" y="180"/>
                    <a:pt x="684" y="202"/>
                  </a:cubicBezTo>
                  <a:cubicBezTo>
                    <a:pt x="684" y="246"/>
                    <a:pt x="693" y="282"/>
                    <a:pt x="713" y="303"/>
                  </a:cubicBezTo>
                  <a:cubicBezTo>
                    <a:pt x="725" y="316"/>
                    <a:pt x="742" y="323"/>
                    <a:pt x="760" y="323"/>
                  </a:cubicBezTo>
                  <a:cubicBezTo>
                    <a:pt x="784" y="323"/>
                    <a:pt x="802" y="312"/>
                    <a:pt x="813" y="295"/>
                  </a:cubicBezTo>
                  <a:cubicBezTo>
                    <a:pt x="813" y="295"/>
                    <a:pt x="817" y="305"/>
                    <a:pt x="821" y="310"/>
                  </a:cubicBezTo>
                  <a:cubicBezTo>
                    <a:pt x="828" y="318"/>
                    <a:pt x="836" y="322"/>
                    <a:pt x="850" y="322"/>
                  </a:cubicBezTo>
                  <a:cubicBezTo>
                    <a:pt x="874" y="322"/>
                    <a:pt x="887" y="314"/>
                    <a:pt x="888" y="295"/>
                  </a:cubicBezTo>
                  <a:cubicBezTo>
                    <a:pt x="888" y="291"/>
                    <a:pt x="886" y="285"/>
                    <a:pt x="885" y="283"/>
                  </a:cubicBezTo>
                  <a:cubicBezTo>
                    <a:pt x="878" y="283"/>
                    <a:pt x="878" y="283"/>
                    <a:pt x="878" y="283"/>
                  </a:cubicBezTo>
                  <a:cubicBezTo>
                    <a:pt x="873" y="283"/>
                    <a:pt x="870" y="282"/>
                    <a:pt x="868" y="281"/>
                  </a:cubicBezTo>
                  <a:cubicBezTo>
                    <a:pt x="865" y="278"/>
                    <a:pt x="864" y="273"/>
                    <a:pt x="864" y="264"/>
                  </a:cubicBezTo>
                  <a:lnTo>
                    <a:pt x="864" y="24"/>
                  </a:lnTo>
                  <a:close/>
                  <a:moveTo>
                    <a:pt x="774" y="277"/>
                  </a:moveTo>
                  <a:cubicBezTo>
                    <a:pt x="766" y="277"/>
                    <a:pt x="760" y="274"/>
                    <a:pt x="755" y="269"/>
                  </a:cubicBezTo>
                  <a:cubicBezTo>
                    <a:pt x="740" y="253"/>
                    <a:pt x="738" y="219"/>
                    <a:pt x="738" y="206"/>
                  </a:cubicBezTo>
                  <a:cubicBezTo>
                    <a:pt x="738" y="175"/>
                    <a:pt x="745" y="137"/>
                    <a:pt x="775" y="137"/>
                  </a:cubicBezTo>
                  <a:cubicBezTo>
                    <a:pt x="784" y="137"/>
                    <a:pt x="791" y="140"/>
                    <a:pt x="796" y="145"/>
                  </a:cubicBezTo>
                  <a:cubicBezTo>
                    <a:pt x="808" y="158"/>
                    <a:pt x="810" y="185"/>
                    <a:pt x="810" y="206"/>
                  </a:cubicBezTo>
                  <a:cubicBezTo>
                    <a:pt x="810" y="213"/>
                    <a:pt x="810" y="213"/>
                    <a:pt x="810" y="213"/>
                  </a:cubicBezTo>
                  <a:cubicBezTo>
                    <a:pt x="809" y="242"/>
                    <a:pt x="802" y="277"/>
                    <a:pt x="774" y="277"/>
                  </a:cubicBezTo>
                  <a:moveTo>
                    <a:pt x="659" y="283"/>
                  </a:moveTo>
                  <a:cubicBezTo>
                    <a:pt x="652" y="283"/>
                    <a:pt x="652" y="283"/>
                    <a:pt x="652" y="283"/>
                  </a:cubicBezTo>
                  <a:cubicBezTo>
                    <a:pt x="647" y="283"/>
                    <a:pt x="644" y="282"/>
                    <a:pt x="642" y="281"/>
                  </a:cubicBezTo>
                  <a:cubicBezTo>
                    <a:pt x="640" y="278"/>
                    <a:pt x="639" y="273"/>
                    <a:pt x="639" y="264"/>
                  </a:cubicBezTo>
                  <a:cubicBezTo>
                    <a:pt x="639" y="189"/>
                    <a:pt x="639" y="189"/>
                    <a:pt x="639" y="189"/>
                  </a:cubicBezTo>
                  <a:cubicBezTo>
                    <a:pt x="639" y="144"/>
                    <a:pt x="631" y="92"/>
                    <a:pt x="575" y="92"/>
                  </a:cubicBezTo>
                  <a:cubicBezTo>
                    <a:pt x="554" y="92"/>
                    <a:pt x="536" y="100"/>
                    <a:pt x="523" y="115"/>
                  </a:cubicBezTo>
                  <a:cubicBezTo>
                    <a:pt x="522" y="100"/>
                    <a:pt x="512" y="94"/>
                    <a:pt x="499" y="94"/>
                  </a:cubicBezTo>
                  <a:cubicBezTo>
                    <a:pt x="486" y="94"/>
                    <a:pt x="472" y="97"/>
                    <a:pt x="466" y="100"/>
                  </a:cubicBezTo>
                  <a:cubicBezTo>
                    <a:pt x="469" y="106"/>
                    <a:pt x="470" y="118"/>
                    <a:pt x="470" y="129"/>
                  </a:cubicBezTo>
                  <a:cubicBezTo>
                    <a:pt x="470" y="150"/>
                    <a:pt x="470" y="150"/>
                    <a:pt x="470" y="150"/>
                  </a:cubicBezTo>
                  <a:cubicBezTo>
                    <a:pt x="470" y="150"/>
                    <a:pt x="470" y="150"/>
                    <a:pt x="470" y="150"/>
                  </a:cubicBezTo>
                  <a:cubicBezTo>
                    <a:pt x="470" y="299"/>
                    <a:pt x="470" y="299"/>
                    <a:pt x="470" y="299"/>
                  </a:cubicBezTo>
                  <a:cubicBezTo>
                    <a:pt x="470" y="316"/>
                    <a:pt x="480" y="321"/>
                    <a:pt x="495" y="321"/>
                  </a:cubicBezTo>
                  <a:cubicBezTo>
                    <a:pt x="507" y="321"/>
                    <a:pt x="519" y="319"/>
                    <a:pt x="525" y="316"/>
                  </a:cubicBezTo>
                  <a:cubicBezTo>
                    <a:pt x="525" y="275"/>
                    <a:pt x="525" y="275"/>
                    <a:pt x="525" y="275"/>
                  </a:cubicBezTo>
                  <a:cubicBezTo>
                    <a:pt x="525" y="275"/>
                    <a:pt x="525" y="275"/>
                    <a:pt x="525" y="275"/>
                  </a:cubicBezTo>
                  <a:cubicBezTo>
                    <a:pt x="525" y="166"/>
                    <a:pt x="525" y="166"/>
                    <a:pt x="525" y="166"/>
                  </a:cubicBezTo>
                  <a:cubicBezTo>
                    <a:pt x="532" y="147"/>
                    <a:pt x="542" y="138"/>
                    <a:pt x="557" y="138"/>
                  </a:cubicBezTo>
                  <a:cubicBezTo>
                    <a:pt x="574" y="138"/>
                    <a:pt x="583" y="152"/>
                    <a:pt x="584" y="177"/>
                  </a:cubicBezTo>
                  <a:cubicBezTo>
                    <a:pt x="584" y="270"/>
                    <a:pt x="584" y="270"/>
                    <a:pt x="584" y="270"/>
                  </a:cubicBezTo>
                  <a:cubicBezTo>
                    <a:pt x="584" y="288"/>
                    <a:pt x="588" y="302"/>
                    <a:pt x="594" y="310"/>
                  </a:cubicBezTo>
                  <a:cubicBezTo>
                    <a:pt x="601" y="318"/>
                    <a:pt x="611" y="322"/>
                    <a:pt x="624" y="322"/>
                  </a:cubicBezTo>
                  <a:cubicBezTo>
                    <a:pt x="648" y="322"/>
                    <a:pt x="662" y="314"/>
                    <a:pt x="662" y="295"/>
                  </a:cubicBezTo>
                  <a:cubicBezTo>
                    <a:pt x="662" y="291"/>
                    <a:pt x="660" y="285"/>
                    <a:pt x="659" y="283"/>
                  </a:cubicBezTo>
                  <a:moveTo>
                    <a:pt x="1402" y="283"/>
                  </a:moveTo>
                  <a:cubicBezTo>
                    <a:pt x="1394" y="283"/>
                    <a:pt x="1394" y="283"/>
                    <a:pt x="1394" y="283"/>
                  </a:cubicBezTo>
                  <a:cubicBezTo>
                    <a:pt x="1389" y="283"/>
                    <a:pt x="1387" y="282"/>
                    <a:pt x="1385" y="281"/>
                  </a:cubicBezTo>
                  <a:cubicBezTo>
                    <a:pt x="1382" y="278"/>
                    <a:pt x="1381" y="273"/>
                    <a:pt x="1381" y="264"/>
                  </a:cubicBezTo>
                  <a:cubicBezTo>
                    <a:pt x="1381" y="183"/>
                    <a:pt x="1381" y="183"/>
                    <a:pt x="1381" y="183"/>
                  </a:cubicBezTo>
                  <a:cubicBezTo>
                    <a:pt x="1381" y="142"/>
                    <a:pt x="1374" y="94"/>
                    <a:pt x="1315" y="94"/>
                  </a:cubicBezTo>
                  <a:cubicBezTo>
                    <a:pt x="1296" y="94"/>
                    <a:pt x="1275" y="102"/>
                    <a:pt x="1261" y="118"/>
                  </a:cubicBezTo>
                  <a:cubicBezTo>
                    <a:pt x="1251" y="102"/>
                    <a:pt x="1236" y="94"/>
                    <a:pt x="1216" y="94"/>
                  </a:cubicBezTo>
                  <a:cubicBezTo>
                    <a:pt x="1198" y="94"/>
                    <a:pt x="1181" y="102"/>
                    <a:pt x="1166" y="118"/>
                  </a:cubicBezTo>
                  <a:cubicBezTo>
                    <a:pt x="1166" y="117"/>
                    <a:pt x="1166" y="117"/>
                    <a:pt x="1166" y="117"/>
                  </a:cubicBezTo>
                  <a:cubicBezTo>
                    <a:pt x="1166" y="100"/>
                    <a:pt x="1156" y="94"/>
                    <a:pt x="1142" y="94"/>
                  </a:cubicBezTo>
                  <a:cubicBezTo>
                    <a:pt x="1130" y="94"/>
                    <a:pt x="1115" y="97"/>
                    <a:pt x="1109" y="100"/>
                  </a:cubicBezTo>
                  <a:cubicBezTo>
                    <a:pt x="1112" y="106"/>
                    <a:pt x="1113" y="115"/>
                    <a:pt x="1113" y="125"/>
                  </a:cubicBezTo>
                  <a:cubicBezTo>
                    <a:pt x="1113" y="299"/>
                    <a:pt x="1113" y="299"/>
                    <a:pt x="1113" y="299"/>
                  </a:cubicBezTo>
                  <a:cubicBezTo>
                    <a:pt x="1113" y="316"/>
                    <a:pt x="1124" y="322"/>
                    <a:pt x="1138" y="322"/>
                  </a:cubicBezTo>
                  <a:cubicBezTo>
                    <a:pt x="1150" y="322"/>
                    <a:pt x="1162" y="319"/>
                    <a:pt x="1168" y="316"/>
                  </a:cubicBezTo>
                  <a:cubicBezTo>
                    <a:pt x="1168" y="168"/>
                    <a:pt x="1168" y="168"/>
                    <a:pt x="1168" y="168"/>
                  </a:cubicBezTo>
                  <a:cubicBezTo>
                    <a:pt x="1171" y="156"/>
                    <a:pt x="1179" y="140"/>
                    <a:pt x="1195" y="140"/>
                  </a:cubicBezTo>
                  <a:cubicBezTo>
                    <a:pt x="1202" y="140"/>
                    <a:pt x="1207" y="142"/>
                    <a:pt x="1211" y="147"/>
                  </a:cubicBezTo>
                  <a:cubicBezTo>
                    <a:pt x="1217" y="153"/>
                    <a:pt x="1220" y="164"/>
                    <a:pt x="1220" y="179"/>
                  </a:cubicBezTo>
                  <a:cubicBezTo>
                    <a:pt x="1220" y="299"/>
                    <a:pt x="1220" y="299"/>
                    <a:pt x="1220" y="299"/>
                  </a:cubicBezTo>
                  <a:cubicBezTo>
                    <a:pt x="1220" y="316"/>
                    <a:pt x="1230" y="322"/>
                    <a:pt x="1245" y="322"/>
                  </a:cubicBezTo>
                  <a:cubicBezTo>
                    <a:pt x="1257" y="322"/>
                    <a:pt x="1269" y="319"/>
                    <a:pt x="1275" y="316"/>
                  </a:cubicBezTo>
                  <a:cubicBezTo>
                    <a:pt x="1275" y="168"/>
                    <a:pt x="1275" y="168"/>
                    <a:pt x="1275" y="168"/>
                  </a:cubicBezTo>
                  <a:cubicBezTo>
                    <a:pt x="1278" y="156"/>
                    <a:pt x="1287" y="140"/>
                    <a:pt x="1303" y="140"/>
                  </a:cubicBezTo>
                  <a:cubicBezTo>
                    <a:pt x="1309" y="140"/>
                    <a:pt x="1314" y="142"/>
                    <a:pt x="1318" y="147"/>
                  </a:cubicBezTo>
                  <a:cubicBezTo>
                    <a:pt x="1324" y="153"/>
                    <a:pt x="1327" y="164"/>
                    <a:pt x="1327" y="179"/>
                  </a:cubicBezTo>
                  <a:cubicBezTo>
                    <a:pt x="1327" y="270"/>
                    <a:pt x="1327" y="270"/>
                    <a:pt x="1327" y="270"/>
                  </a:cubicBezTo>
                  <a:cubicBezTo>
                    <a:pt x="1327" y="288"/>
                    <a:pt x="1330" y="302"/>
                    <a:pt x="1337" y="310"/>
                  </a:cubicBezTo>
                  <a:cubicBezTo>
                    <a:pt x="1344" y="318"/>
                    <a:pt x="1353" y="322"/>
                    <a:pt x="1367" y="322"/>
                  </a:cubicBezTo>
                  <a:cubicBezTo>
                    <a:pt x="1391" y="322"/>
                    <a:pt x="1404" y="314"/>
                    <a:pt x="1404" y="295"/>
                  </a:cubicBezTo>
                  <a:cubicBezTo>
                    <a:pt x="1404" y="291"/>
                    <a:pt x="1403" y="285"/>
                    <a:pt x="1402" y="283"/>
                  </a:cubicBezTo>
                  <a:moveTo>
                    <a:pt x="1864" y="299"/>
                  </a:moveTo>
                  <a:cubicBezTo>
                    <a:pt x="1864" y="316"/>
                    <a:pt x="1875" y="322"/>
                    <a:pt x="1889" y="322"/>
                  </a:cubicBezTo>
                  <a:cubicBezTo>
                    <a:pt x="1901" y="322"/>
                    <a:pt x="1913" y="319"/>
                    <a:pt x="1919" y="316"/>
                  </a:cubicBezTo>
                  <a:cubicBezTo>
                    <a:pt x="1919" y="184"/>
                    <a:pt x="1919" y="184"/>
                    <a:pt x="1919" y="184"/>
                  </a:cubicBezTo>
                  <a:cubicBezTo>
                    <a:pt x="1921" y="156"/>
                    <a:pt x="1933" y="142"/>
                    <a:pt x="1955" y="142"/>
                  </a:cubicBezTo>
                  <a:cubicBezTo>
                    <a:pt x="1962" y="142"/>
                    <a:pt x="1967" y="144"/>
                    <a:pt x="1971" y="146"/>
                  </a:cubicBezTo>
                  <a:cubicBezTo>
                    <a:pt x="1973" y="147"/>
                    <a:pt x="1977" y="148"/>
                    <a:pt x="1979" y="150"/>
                  </a:cubicBezTo>
                  <a:cubicBezTo>
                    <a:pt x="1979" y="150"/>
                    <a:pt x="1989" y="140"/>
                    <a:pt x="1989" y="125"/>
                  </a:cubicBezTo>
                  <a:cubicBezTo>
                    <a:pt x="1988" y="108"/>
                    <a:pt x="1977" y="91"/>
                    <a:pt x="1952" y="91"/>
                  </a:cubicBezTo>
                  <a:cubicBezTo>
                    <a:pt x="1938" y="91"/>
                    <a:pt x="1924" y="98"/>
                    <a:pt x="1915" y="110"/>
                  </a:cubicBezTo>
                  <a:cubicBezTo>
                    <a:pt x="1912" y="99"/>
                    <a:pt x="1904" y="94"/>
                    <a:pt x="1892" y="94"/>
                  </a:cubicBezTo>
                  <a:cubicBezTo>
                    <a:pt x="1880" y="94"/>
                    <a:pt x="1866" y="97"/>
                    <a:pt x="1860" y="100"/>
                  </a:cubicBezTo>
                  <a:cubicBezTo>
                    <a:pt x="1863" y="106"/>
                    <a:pt x="1864" y="118"/>
                    <a:pt x="1864" y="129"/>
                  </a:cubicBezTo>
                  <a:lnTo>
                    <a:pt x="1864" y="299"/>
                  </a:lnTo>
                  <a:close/>
                  <a:moveTo>
                    <a:pt x="2113" y="287"/>
                  </a:moveTo>
                  <a:cubicBezTo>
                    <a:pt x="2111" y="275"/>
                    <a:pt x="2105" y="270"/>
                    <a:pt x="2105" y="270"/>
                  </a:cubicBezTo>
                  <a:cubicBezTo>
                    <a:pt x="2103" y="270"/>
                    <a:pt x="2099" y="272"/>
                    <a:pt x="2096" y="273"/>
                  </a:cubicBezTo>
                  <a:cubicBezTo>
                    <a:pt x="2092" y="275"/>
                    <a:pt x="2085" y="277"/>
                    <a:pt x="2079" y="277"/>
                  </a:cubicBezTo>
                  <a:cubicBezTo>
                    <a:pt x="2068" y="277"/>
                    <a:pt x="2063" y="270"/>
                    <a:pt x="2063" y="252"/>
                  </a:cubicBezTo>
                  <a:cubicBezTo>
                    <a:pt x="2063" y="142"/>
                    <a:pt x="2063" y="142"/>
                    <a:pt x="2063" y="142"/>
                  </a:cubicBezTo>
                  <a:cubicBezTo>
                    <a:pt x="2091" y="142"/>
                    <a:pt x="2091" y="142"/>
                    <a:pt x="2091" y="142"/>
                  </a:cubicBezTo>
                  <a:cubicBezTo>
                    <a:pt x="2109" y="142"/>
                    <a:pt x="2112" y="125"/>
                    <a:pt x="2112" y="114"/>
                  </a:cubicBezTo>
                  <a:cubicBezTo>
                    <a:pt x="2112" y="107"/>
                    <a:pt x="2111" y="101"/>
                    <a:pt x="2106" y="97"/>
                  </a:cubicBezTo>
                  <a:cubicBezTo>
                    <a:pt x="2063" y="97"/>
                    <a:pt x="2063" y="97"/>
                    <a:pt x="2063" y="97"/>
                  </a:cubicBezTo>
                  <a:cubicBezTo>
                    <a:pt x="2063" y="69"/>
                    <a:pt x="2063" y="69"/>
                    <a:pt x="2063" y="69"/>
                  </a:cubicBezTo>
                  <a:cubicBezTo>
                    <a:pt x="2063" y="52"/>
                    <a:pt x="2053" y="46"/>
                    <a:pt x="2038" y="46"/>
                  </a:cubicBezTo>
                  <a:cubicBezTo>
                    <a:pt x="2025" y="46"/>
                    <a:pt x="2010" y="48"/>
                    <a:pt x="2004" y="51"/>
                  </a:cubicBezTo>
                  <a:cubicBezTo>
                    <a:pt x="2007" y="57"/>
                    <a:pt x="2008" y="66"/>
                    <a:pt x="2008" y="76"/>
                  </a:cubicBezTo>
                  <a:cubicBezTo>
                    <a:pt x="2008" y="256"/>
                    <a:pt x="2008" y="256"/>
                    <a:pt x="2008" y="256"/>
                  </a:cubicBezTo>
                  <a:cubicBezTo>
                    <a:pt x="2008" y="299"/>
                    <a:pt x="2030" y="323"/>
                    <a:pt x="2064" y="323"/>
                  </a:cubicBezTo>
                  <a:cubicBezTo>
                    <a:pt x="2100" y="323"/>
                    <a:pt x="2115" y="304"/>
                    <a:pt x="2113" y="287"/>
                  </a:cubicBezTo>
                  <a:moveTo>
                    <a:pt x="2339" y="270"/>
                  </a:moveTo>
                  <a:cubicBezTo>
                    <a:pt x="2339" y="289"/>
                    <a:pt x="2343" y="302"/>
                    <a:pt x="2350" y="311"/>
                  </a:cubicBezTo>
                  <a:cubicBezTo>
                    <a:pt x="2356" y="319"/>
                    <a:pt x="2366" y="323"/>
                    <a:pt x="2379" y="323"/>
                  </a:cubicBezTo>
                  <a:cubicBezTo>
                    <a:pt x="2404" y="323"/>
                    <a:pt x="2417" y="314"/>
                    <a:pt x="2417" y="295"/>
                  </a:cubicBezTo>
                  <a:cubicBezTo>
                    <a:pt x="2417" y="291"/>
                    <a:pt x="2416" y="285"/>
                    <a:pt x="2415" y="283"/>
                  </a:cubicBezTo>
                  <a:cubicBezTo>
                    <a:pt x="2407" y="283"/>
                    <a:pt x="2407" y="283"/>
                    <a:pt x="2407" y="283"/>
                  </a:cubicBezTo>
                  <a:cubicBezTo>
                    <a:pt x="2402" y="283"/>
                    <a:pt x="2399" y="283"/>
                    <a:pt x="2397" y="281"/>
                  </a:cubicBezTo>
                  <a:cubicBezTo>
                    <a:pt x="2395" y="279"/>
                    <a:pt x="2394" y="274"/>
                    <a:pt x="2394" y="264"/>
                  </a:cubicBezTo>
                  <a:cubicBezTo>
                    <a:pt x="2394" y="24"/>
                    <a:pt x="2394" y="24"/>
                    <a:pt x="2394" y="24"/>
                  </a:cubicBezTo>
                  <a:cubicBezTo>
                    <a:pt x="2394" y="21"/>
                    <a:pt x="2394" y="18"/>
                    <a:pt x="2393" y="16"/>
                  </a:cubicBezTo>
                  <a:cubicBezTo>
                    <a:pt x="2390" y="5"/>
                    <a:pt x="2381" y="1"/>
                    <a:pt x="2369" y="1"/>
                  </a:cubicBezTo>
                  <a:cubicBezTo>
                    <a:pt x="2356" y="1"/>
                    <a:pt x="2341" y="4"/>
                    <a:pt x="2335" y="7"/>
                  </a:cubicBezTo>
                  <a:cubicBezTo>
                    <a:pt x="2338" y="13"/>
                    <a:pt x="2339" y="25"/>
                    <a:pt x="2339" y="36"/>
                  </a:cubicBezTo>
                  <a:lnTo>
                    <a:pt x="2339" y="270"/>
                  </a:lnTo>
                  <a:close/>
                  <a:moveTo>
                    <a:pt x="385" y="96"/>
                  </a:moveTo>
                  <a:cubicBezTo>
                    <a:pt x="373" y="96"/>
                    <a:pt x="364" y="101"/>
                    <a:pt x="362" y="115"/>
                  </a:cubicBezTo>
                  <a:cubicBezTo>
                    <a:pt x="353" y="102"/>
                    <a:pt x="336" y="91"/>
                    <a:pt x="315" y="91"/>
                  </a:cubicBezTo>
                  <a:cubicBezTo>
                    <a:pt x="293" y="91"/>
                    <a:pt x="275" y="98"/>
                    <a:pt x="261" y="113"/>
                  </a:cubicBezTo>
                  <a:cubicBezTo>
                    <a:pt x="237" y="138"/>
                    <a:pt x="232" y="180"/>
                    <a:pt x="232" y="202"/>
                  </a:cubicBezTo>
                  <a:cubicBezTo>
                    <a:pt x="232" y="245"/>
                    <a:pt x="241" y="281"/>
                    <a:pt x="262" y="303"/>
                  </a:cubicBezTo>
                  <a:cubicBezTo>
                    <a:pt x="274" y="316"/>
                    <a:pt x="290" y="323"/>
                    <a:pt x="309" y="323"/>
                  </a:cubicBezTo>
                  <a:cubicBezTo>
                    <a:pt x="332" y="323"/>
                    <a:pt x="351" y="313"/>
                    <a:pt x="362" y="295"/>
                  </a:cubicBezTo>
                  <a:cubicBezTo>
                    <a:pt x="362" y="295"/>
                    <a:pt x="365" y="305"/>
                    <a:pt x="370" y="310"/>
                  </a:cubicBezTo>
                  <a:cubicBezTo>
                    <a:pt x="376" y="318"/>
                    <a:pt x="385" y="322"/>
                    <a:pt x="398" y="322"/>
                  </a:cubicBezTo>
                  <a:cubicBezTo>
                    <a:pt x="422" y="322"/>
                    <a:pt x="436" y="314"/>
                    <a:pt x="436" y="295"/>
                  </a:cubicBezTo>
                  <a:cubicBezTo>
                    <a:pt x="436" y="291"/>
                    <a:pt x="435" y="285"/>
                    <a:pt x="433" y="283"/>
                  </a:cubicBezTo>
                  <a:cubicBezTo>
                    <a:pt x="426" y="283"/>
                    <a:pt x="426" y="283"/>
                    <a:pt x="426" y="283"/>
                  </a:cubicBezTo>
                  <a:cubicBezTo>
                    <a:pt x="421" y="283"/>
                    <a:pt x="418" y="282"/>
                    <a:pt x="416" y="281"/>
                  </a:cubicBezTo>
                  <a:cubicBezTo>
                    <a:pt x="414" y="278"/>
                    <a:pt x="413" y="273"/>
                    <a:pt x="413" y="264"/>
                  </a:cubicBezTo>
                  <a:cubicBezTo>
                    <a:pt x="413" y="96"/>
                    <a:pt x="413" y="96"/>
                    <a:pt x="413" y="96"/>
                  </a:cubicBezTo>
                  <a:lnTo>
                    <a:pt x="385" y="96"/>
                  </a:lnTo>
                  <a:close/>
                  <a:moveTo>
                    <a:pt x="323" y="277"/>
                  </a:moveTo>
                  <a:cubicBezTo>
                    <a:pt x="315" y="277"/>
                    <a:pt x="309" y="274"/>
                    <a:pt x="303" y="269"/>
                  </a:cubicBezTo>
                  <a:cubicBezTo>
                    <a:pt x="288" y="253"/>
                    <a:pt x="287" y="219"/>
                    <a:pt x="287" y="206"/>
                  </a:cubicBezTo>
                  <a:cubicBezTo>
                    <a:pt x="287" y="175"/>
                    <a:pt x="293" y="137"/>
                    <a:pt x="323" y="137"/>
                  </a:cubicBezTo>
                  <a:cubicBezTo>
                    <a:pt x="332" y="137"/>
                    <a:pt x="339" y="139"/>
                    <a:pt x="345" y="145"/>
                  </a:cubicBezTo>
                  <a:cubicBezTo>
                    <a:pt x="357" y="158"/>
                    <a:pt x="358" y="185"/>
                    <a:pt x="358" y="206"/>
                  </a:cubicBezTo>
                  <a:cubicBezTo>
                    <a:pt x="358" y="213"/>
                    <a:pt x="358" y="213"/>
                    <a:pt x="358" y="213"/>
                  </a:cubicBezTo>
                  <a:cubicBezTo>
                    <a:pt x="357" y="241"/>
                    <a:pt x="350" y="277"/>
                    <a:pt x="323" y="2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6" name="Freeform 6"/>
            <p:cNvSpPr>
              <a:spLocks noSelect="1"/>
            </p:cNvSpPr>
            <p:nvPr/>
          </p:nvSpPr>
          <p:spPr bwMode="gray">
            <a:xfrm>
              <a:off x="636" y="4062"/>
              <a:ext cx="109" cy="97"/>
            </a:xfrm>
            <a:custGeom>
              <a:avLst/>
              <a:gdLst>
                <a:gd name="T0" fmla="*/ 89 w 291"/>
                <a:gd name="T1" fmla="*/ 200 h 259"/>
                <a:gd name="T2" fmla="*/ 290 w 291"/>
                <a:gd name="T3" fmla="*/ 241 h 259"/>
                <a:gd name="T4" fmla="*/ 201 w 291"/>
                <a:gd name="T5" fmla="*/ 59 h 259"/>
                <a:gd name="T6" fmla="*/ 1 w 291"/>
                <a:gd name="T7" fmla="*/ 18 h 259"/>
                <a:gd name="T8" fmla="*/ 89 w 291"/>
                <a:gd name="T9" fmla="*/ 200 h 259"/>
              </a:gdLst>
              <a:ahLst/>
              <a:cxnLst>
                <a:cxn ang="0">
                  <a:pos x="T0" y="T1"/>
                </a:cxn>
                <a:cxn ang="0">
                  <a:pos x="T2" y="T3"/>
                </a:cxn>
                <a:cxn ang="0">
                  <a:pos x="T4" y="T5"/>
                </a:cxn>
                <a:cxn ang="0">
                  <a:pos x="T6" y="T7"/>
                </a:cxn>
                <a:cxn ang="0">
                  <a:pos x="T8" y="T9"/>
                </a:cxn>
              </a:cxnLst>
              <a:rect l="0" t="0" r="r" b="b"/>
              <a:pathLst>
                <a:path w="291" h="259">
                  <a:moveTo>
                    <a:pt x="89" y="200"/>
                  </a:moveTo>
                  <a:cubicBezTo>
                    <a:pt x="148" y="246"/>
                    <a:pt x="222" y="259"/>
                    <a:pt x="290" y="241"/>
                  </a:cubicBezTo>
                  <a:cubicBezTo>
                    <a:pt x="291" y="172"/>
                    <a:pt x="260" y="104"/>
                    <a:pt x="201" y="59"/>
                  </a:cubicBezTo>
                  <a:cubicBezTo>
                    <a:pt x="142" y="13"/>
                    <a:pt x="68" y="0"/>
                    <a:pt x="1" y="18"/>
                  </a:cubicBezTo>
                  <a:cubicBezTo>
                    <a:pt x="0" y="87"/>
                    <a:pt x="30" y="155"/>
                    <a:pt x="89" y="20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7" name="Freeform 7"/>
            <p:cNvSpPr>
              <a:spLocks noSelect="1"/>
            </p:cNvSpPr>
            <p:nvPr/>
          </p:nvSpPr>
          <p:spPr bwMode="gray">
            <a:xfrm>
              <a:off x="713" y="3938"/>
              <a:ext cx="49" cy="82"/>
            </a:xfrm>
            <a:custGeom>
              <a:avLst/>
              <a:gdLst>
                <a:gd name="T0" fmla="*/ 10 w 130"/>
                <a:gd name="T1" fmla="*/ 97 h 218"/>
                <a:gd name="T2" fmla="*/ 40 w 130"/>
                <a:gd name="T3" fmla="*/ 218 h 218"/>
                <a:gd name="T4" fmla="*/ 120 w 130"/>
                <a:gd name="T5" fmla="*/ 121 h 218"/>
                <a:gd name="T6" fmla="*/ 89 w 130"/>
                <a:gd name="T7" fmla="*/ 0 h 218"/>
                <a:gd name="T8" fmla="*/ 10 w 130"/>
                <a:gd name="T9" fmla="*/ 97 h 218"/>
              </a:gdLst>
              <a:ahLst/>
              <a:cxnLst>
                <a:cxn ang="0">
                  <a:pos x="T0" y="T1"/>
                </a:cxn>
                <a:cxn ang="0">
                  <a:pos x="T2" y="T3"/>
                </a:cxn>
                <a:cxn ang="0">
                  <a:pos x="T4" y="T5"/>
                </a:cxn>
                <a:cxn ang="0">
                  <a:pos x="T6" y="T7"/>
                </a:cxn>
                <a:cxn ang="0">
                  <a:pos x="T8" y="T9"/>
                </a:cxn>
              </a:cxnLst>
              <a:rect l="0" t="0" r="r" b="b"/>
              <a:pathLst>
                <a:path w="130" h="218">
                  <a:moveTo>
                    <a:pt x="10" y="97"/>
                  </a:moveTo>
                  <a:cubicBezTo>
                    <a:pt x="0" y="142"/>
                    <a:pt x="12" y="186"/>
                    <a:pt x="40" y="218"/>
                  </a:cubicBezTo>
                  <a:cubicBezTo>
                    <a:pt x="79" y="201"/>
                    <a:pt x="110" y="166"/>
                    <a:pt x="120" y="121"/>
                  </a:cubicBezTo>
                  <a:cubicBezTo>
                    <a:pt x="130" y="77"/>
                    <a:pt x="117" y="32"/>
                    <a:pt x="89" y="0"/>
                  </a:cubicBezTo>
                  <a:cubicBezTo>
                    <a:pt x="50" y="18"/>
                    <a:pt x="20" y="52"/>
                    <a:pt x="10" y="9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8" name="Freeform 8"/>
            <p:cNvSpPr>
              <a:spLocks noSelect="1"/>
            </p:cNvSpPr>
            <p:nvPr/>
          </p:nvSpPr>
          <p:spPr bwMode="gray">
            <a:xfrm>
              <a:off x="737" y="3996"/>
              <a:ext cx="72" cy="110"/>
            </a:xfrm>
            <a:custGeom>
              <a:avLst/>
              <a:gdLst>
                <a:gd name="T0" fmla="*/ 22 w 190"/>
                <a:gd name="T1" fmla="*/ 120 h 292"/>
                <a:gd name="T2" fmla="*/ 42 w 190"/>
                <a:gd name="T3" fmla="*/ 292 h 292"/>
                <a:gd name="T4" fmla="*/ 168 w 190"/>
                <a:gd name="T5" fmla="*/ 172 h 292"/>
                <a:gd name="T6" fmla="*/ 148 w 190"/>
                <a:gd name="T7" fmla="*/ 0 h 292"/>
                <a:gd name="T8" fmla="*/ 22 w 190"/>
                <a:gd name="T9" fmla="*/ 120 h 292"/>
              </a:gdLst>
              <a:ahLst/>
              <a:cxnLst>
                <a:cxn ang="0">
                  <a:pos x="T0" y="T1"/>
                </a:cxn>
                <a:cxn ang="0">
                  <a:pos x="T2" y="T3"/>
                </a:cxn>
                <a:cxn ang="0">
                  <a:pos x="T4" y="T5"/>
                </a:cxn>
                <a:cxn ang="0">
                  <a:pos x="T6" y="T7"/>
                </a:cxn>
                <a:cxn ang="0">
                  <a:pos x="T8" y="T9"/>
                </a:cxn>
              </a:cxnLst>
              <a:rect l="0" t="0" r="r" b="b"/>
              <a:pathLst>
                <a:path w="190" h="292">
                  <a:moveTo>
                    <a:pt x="22" y="120"/>
                  </a:moveTo>
                  <a:cubicBezTo>
                    <a:pt x="0" y="180"/>
                    <a:pt x="10" y="243"/>
                    <a:pt x="42" y="292"/>
                  </a:cubicBezTo>
                  <a:cubicBezTo>
                    <a:pt x="99" y="275"/>
                    <a:pt x="147" y="232"/>
                    <a:pt x="168" y="172"/>
                  </a:cubicBezTo>
                  <a:cubicBezTo>
                    <a:pt x="190" y="113"/>
                    <a:pt x="180" y="50"/>
                    <a:pt x="148" y="0"/>
                  </a:cubicBezTo>
                  <a:cubicBezTo>
                    <a:pt x="91" y="18"/>
                    <a:pt x="44" y="61"/>
                    <a:pt x="22"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9" name="Freeform 9"/>
            <p:cNvSpPr>
              <a:spLocks noSelect="1"/>
            </p:cNvSpPr>
            <p:nvPr/>
          </p:nvSpPr>
          <p:spPr bwMode="gray">
            <a:xfrm>
              <a:off x="634" y="3982"/>
              <a:ext cx="74" cy="71"/>
            </a:xfrm>
            <a:custGeom>
              <a:avLst/>
              <a:gdLst>
                <a:gd name="T0" fmla="*/ 54 w 196"/>
                <a:gd name="T1" fmla="*/ 139 h 188"/>
                <a:gd name="T2" fmla="*/ 191 w 196"/>
                <a:gd name="T3" fmla="*/ 180 h 188"/>
                <a:gd name="T4" fmla="*/ 142 w 196"/>
                <a:gd name="T5" fmla="*/ 48 h 188"/>
                <a:gd name="T6" fmla="*/ 5 w 196"/>
                <a:gd name="T7" fmla="*/ 8 h 188"/>
                <a:gd name="T8" fmla="*/ 54 w 196"/>
                <a:gd name="T9" fmla="*/ 139 h 188"/>
              </a:gdLst>
              <a:ahLst/>
              <a:cxnLst>
                <a:cxn ang="0">
                  <a:pos x="T0" y="T1"/>
                </a:cxn>
                <a:cxn ang="0">
                  <a:pos x="T2" y="T3"/>
                </a:cxn>
                <a:cxn ang="0">
                  <a:pos x="T4" y="T5"/>
                </a:cxn>
                <a:cxn ang="0">
                  <a:pos x="T6" y="T7"/>
                </a:cxn>
                <a:cxn ang="0">
                  <a:pos x="T8" y="T9"/>
                </a:cxn>
              </a:cxnLst>
              <a:rect l="0" t="0" r="r" b="b"/>
              <a:pathLst>
                <a:path w="196" h="188">
                  <a:moveTo>
                    <a:pt x="54" y="139"/>
                  </a:moveTo>
                  <a:cubicBezTo>
                    <a:pt x="93" y="174"/>
                    <a:pt x="143" y="188"/>
                    <a:pt x="191" y="180"/>
                  </a:cubicBezTo>
                  <a:cubicBezTo>
                    <a:pt x="196" y="132"/>
                    <a:pt x="180" y="83"/>
                    <a:pt x="142" y="48"/>
                  </a:cubicBezTo>
                  <a:cubicBezTo>
                    <a:pt x="103" y="13"/>
                    <a:pt x="53" y="0"/>
                    <a:pt x="5" y="8"/>
                  </a:cubicBezTo>
                  <a:cubicBezTo>
                    <a:pt x="0" y="55"/>
                    <a:pt x="16" y="104"/>
                    <a:pt x="54" y="1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grpSp>
      <p:sp>
        <p:nvSpPr>
          <p:cNvPr id="20" name="Streep (PHJU)"/>
          <p:cNvSpPr>
            <a:spLocks noGrp="1" noSelect="1"/>
          </p:cNvSpPr>
          <p:nvPr>
            <p:ph type="body" idx="1003" hasCustomPrompt="1"/>
          </p:nvPr>
        </p:nvSpPr>
        <p:spPr bwMode="gray">
          <a:xfrm>
            <a:off x="604520" y="2233449"/>
            <a:ext cx="1209040" cy="52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Tree>
    <p:extLst>
      <p:ext uri="{BB962C8B-B14F-4D97-AF65-F5344CB8AC3E}">
        <p14:creationId xmlns:p14="http://schemas.microsoft.com/office/powerpoint/2010/main" val="21696882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and content (turquoise blue)">
    <p:bg>
      <p:bgPr>
        <a:solidFill>
          <a:schemeClr val="accent4"/>
        </a:solidFill>
        <a:effectLst/>
      </p:bgPr>
    </p:bg>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invGray"/>
        <p:txBody>
          <a:bodyPr/>
          <a:lstStyle>
            <a:lvl1pPr>
              <a:defRPr>
                <a:solidFill>
                  <a:schemeClr val="bg1"/>
                </a:solidFill>
              </a:defRPr>
            </a:lvl1pPr>
          </a:lstStyle>
          <a:p>
            <a:r>
              <a:rPr lang="en-GB" noProof="1"/>
              <a:t>[Title]</a:t>
            </a:r>
          </a:p>
        </p:txBody>
      </p:sp>
      <p:sp>
        <p:nvSpPr>
          <p:cNvPr id="3" name="***Tijdelijke aanduiding voor inhoud 2"/>
          <p:cNvSpPr>
            <a:spLocks noGrp="1" noSelect="1"/>
          </p:cNvSpPr>
          <p:nvPr>
            <p:ph idx="1" hasCustomPrompt="1"/>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1"/>
              <a:t>[Type text or click on icon to insert an object]</a:t>
            </a:r>
          </a:p>
        </p:txBody>
      </p:sp>
      <p:sp>
        <p:nvSpPr>
          <p:cNvPr id="7" name="***Tijdelijke aanduiding voor voettekst 6"/>
          <p:cNvSpPr>
            <a:spLocks noGrp="1" noSelect="1"/>
          </p:cNvSpPr>
          <p:nvPr>
            <p:ph type="ftr" sz="quarter" idx="10"/>
          </p:nvPr>
        </p:nvSpPr>
        <p:spPr bwMode="invGray"/>
        <p:txBody>
          <a:bodyPr/>
          <a:lstStyle>
            <a:lvl1pPr>
              <a:defRPr>
                <a:solidFill>
                  <a:schemeClr val="bg1"/>
                </a:solidFill>
              </a:defRPr>
            </a:lvl1pPr>
          </a:lstStyle>
          <a:p>
            <a:endParaRPr lang="en-US"/>
          </a:p>
        </p:txBody>
      </p:sp>
      <p:sp>
        <p:nvSpPr>
          <p:cNvPr id="8" name="***Tijdelijke aanduiding voor dianummer 7"/>
          <p:cNvSpPr>
            <a:spLocks noGrp="1" noSelect="1"/>
          </p:cNvSpPr>
          <p:nvPr>
            <p:ph type="sldNum" sz="quarter" idx="11"/>
          </p:nvPr>
        </p:nvSpPr>
        <p:spPr bwMode="invGray"/>
        <p:txBody>
          <a:bodyPr/>
          <a:lstStyle>
            <a:lvl1pPr>
              <a:defRPr>
                <a:solidFill>
                  <a:schemeClr val="bg1"/>
                </a:solidFill>
              </a:defRPr>
            </a:lvl1pPr>
          </a:lstStyle>
          <a:p>
            <a:fld id="{ADECF1AC-24A7-42A4-9FAC-3CE63B9FFA68}" type="slidenum">
              <a:rPr lang="en-US" smtClean="0"/>
              <a:t>‹#›</a:t>
            </a:fld>
            <a:endParaRPr lang="en-US"/>
          </a:p>
        </p:txBody>
      </p:sp>
      <p:grpSp>
        <p:nvGrpSpPr>
          <p:cNvPr id="14" name="Group 4"/>
          <p:cNvGrpSpPr>
            <a:grpSpLocks noSelect="1" noChangeAspect="1"/>
          </p:cNvGrpSpPr>
          <p:nvPr/>
        </p:nvGrpSpPr>
        <p:grpSpPr bwMode="gray">
          <a:xfrm>
            <a:off x="636480" y="9472321"/>
            <a:ext cx="1211760" cy="388307"/>
            <a:chOff x="634" y="3938"/>
            <a:chExt cx="1190" cy="221"/>
          </a:xfrm>
          <a:solidFill>
            <a:schemeClr val="bg1"/>
          </a:solidFill>
        </p:grpSpPr>
        <p:sp>
          <p:nvSpPr>
            <p:cNvPr id="15" name="Freeform 5"/>
            <p:cNvSpPr>
              <a:spLocks noSelect="1"/>
            </p:cNvSpPr>
            <p:nvPr/>
          </p:nvSpPr>
          <p:spPr bwMode="gray">
            <a:xfrm>
              <a:off x="845" y="3995"/>
              <a:ext cx="979" cy="122"/>
            </a:xfrm>
            <a:custGeom>
              <a:avLst/>
              <a:gdLst>
                <a:gd name="T0" fmla="*/ 1067 w 2611"/>
                <a:gd name="T1" fmla="*/ 265 h 324"/>
                <a:gd name="T2" fmla="*/ 936 w 2611"/>
                <a:gd name="T3" fmla="*/ 297 h 324"/>
                <a:gd name="T4" fmla="*/ 1080 w 2611"/>
                <a:gd name="T5" fmla="*/ 166 h 324"/>
                <a:gd name="T6" fmla="*/ 1029 w 2611"/>
                <a:gd name="T7" fmla="*/ 165 h 324"/>
                <a:gd name="T8" fmla="*/ 994 w 2611"/>
                <a:gd name="T9" fmla="*/ 198 h 324"/>
                <a:gd name="T10" fmla="*/ 2292 w 2611"/>
                <a:gd name="T11" fmla="*/ 265 h 324"/>
                <a:gd name="T12" fmla="*/ 2161 w 2611"/>
                <a:gd name="T13" fmla="*/ 297 h 324"/>
                <a:gd name="T14" fmla="*/ 2305 w 2611"/>
                <a:gd name="T15" fmla="*/ 166 h 324"/>
                <a:gd name="T16" fmla="*/ 2254 w 2611"/>
                <a:gd name="T17" fmla="*/ 165 h 324"/>
                <a:gd name="T18" fmla="*/ 2219 w 2611"/>
                <a:gd name="T19" fmla="*/ 198 h 324"/>
                <a:gd name="T20" fmla="*/ 2598 w 2611"/>
                <a:gd name="T21" fmla="*/ 265 h 324"/>
                <a:gd name="T22" fmla="*/ 2466 w 2611"/>
                <a:gd name="T23" fmla="*/ 297 h 324"/>
                <a:gd name="T24" fmla="*/ 2611 w 2611"/>
                <a:gd name="T25" fmla="*/ 166 h 324"/>
                <a:gd name="T26" fmla="*/ 2560 w 2611"/>
                <a:gd name="T27" fmla="*/ 165 h 324"/>
                <a:gd name="T28" fmla="*/ 2525 w 2611"/>
                <a:gd name="T29" fmla="*/ 198 h 324"/>
                <a:gd name="T30" fmla="*/ 1611 w 2611"/>
                <a:gd name="T31" fmla="*/ 208 h 324"/>
                <a:gd name="T32" fmla="*/ 1516 w 2611"/>
                <a:gd name="T33" fmla="*/ 136 h 324"/>
                <a:gd name="T34" fmla="*/ 1640 w 2611"/>
                <a:gd name="T35" fmla="*/ 208 h 324"/>
                <a:gd name="T36" fmla="*/ 1735 w 2611"/>
                <a:gd name="T37" fmla="*/ 279 h 324"/>
                <a:gd name="T38" fmla="*/ 1735 w 2611"/>
                <a:gd name="T39" fmla="*/ 279 h 324"/>
                <a:gd name="T40" fmla="*/ 119 w 2611"/>
                <a:gd name="T41" fmla="*/ 247 h 324"/>
                <a:gd name="T42" fmla="*/ 0 w 2611"/>
                <a:gd name="T43" fmla="*/ 13 h 324"/>
                <a:gd name="T44" fmla="*/ 151 w 2611"/>
                <a:gd name="T45" fmla="*/ 312 h 324"/>
                <a:gd name="T46" fmla="*/ 840 w 2611"/>
                <a:gd name="T47" fmla="*/ 1 h 324"/>
                <a:gd name="T48" fmla="*/ 766 w 2611"/>
                <a:gd name="T49" fmla="*/ 91 h 324"/>
                <a:gd name="T50" fmla="*/ 760 w 2611"/>
                <a:gd name="T51" fmla="*/ 323 h 324"/>
                <a:gd name="T52" fmla="*/ 888 w 2611"/>
                <a:gd name="T53" fmla="*/ 295 h 324"/>
                <a:gd name="T54" fmla="*/ 864 w 2611"/>
                <a:gd name="T55" fmla="*/ 264 h 324"/>
                <a:gd name="T56" fmla="*/ 738 w 2611"/>
                <a:gd name="T57" fmla="*/ 206 h 324"/>
                <a:gd name="T58" fmla="*/ 810 w 2611"/>
                <a:gd name="T59" fmla="*/ 213 h 324"/>
                <a:gd name="T60" fmla="*/ 642 w 2611"/>
                <a:gd name="T61" fmla="*/ 281 h 324"/>
                <a:gd name="T62" fmla="*/ 523 w 2611"/>
                <a:gd name="T63" fmla="*/ 115 h 324"/>
                <a:gd name="T64" fmla="*/ 470 w 2611"/>
                <a:gd name="T65" fmla="*/ 150 h 324"/>
                <a:gd name="T66" fmla="*/ 525 w 2611"/>
                <a:gd name="T67" fmla="*/ 316 h 324"/>
                <a:gd name="T68" fmla="*/ 557 w 2611"/>
                <a:gd name="T69" fmla="*/ 138 h 324"/>
                <a:gd name="T70" fmla="*/ 624 w 2611"/>
                <a:gd name="T71" fmla="*/ 322 h 324"/>
                <a:gd name="T72" fmla="*/ 1394 w 2611"/>
                <a:gd name="T73" fmla="*/ 283 h 324"/>
                <a:gd name="T74" fmla="*/ 1315 w 2611"/>
                <a:gd name="T75" fmla="*/ 94 h 324"/>
                <a:gd name="T76" fmla="*/ 1166 w 2611"/>
                <a:gd name="T77" fmla="*/ 117 h 324"/>
                <a:gd name="T78" fmla="*/ 1113 w 2611"/>
                <a:gd name="T79" fmla="*/ 299 h 324"/>
                <a:gd name="T80" fmla="*/ 1195 w 2611"/>
                <a:gd name="T81" fmla="*/ 140 h 324"/>
                <a:gd name="T82" fmla="*/ 1245 w 2611"/>
                <a:gd name="T83" fmla="*/ 322 h 324"/>
                <a:gd name="T84" fmla="*/ 1318 w 2611"/>
                <a:gd name="T85" fmla="*/ 147 h 324"/>
                <a:gd name="T86" fmla="*/ 1367 w 2611"/>
                <a:gd name="T87" fmla="*/ 322 h 324"/>
                <a:gd name="T88" fmla="*/ 1889 w 2611"/>
                <a:gd name="T89" fmla="*/ 322 h 324"/>
                <a:gd name="T90" fmla="*/ 1971 w 2611"/>
                <a:gd name="T91" fmla="*/ 146 h 324"/>
                <a:gd name="T92" fmla="*/ 1915 w 2611"/>
                <a:gd name="T93" fmla="*/ 110 h 324"/>
                <a:gd name="T94" fmla="*/ 1864 w 2611"/>
                <a:gd name="T95" fmla="*/ 299 h 324"/>
                <a:gd name="T96" fmla="*/ 2079 w 2611"/>
                <a:gd name="T97" fmla="*/ 277 h 324"/>
                <a:gd name="T98" fmla="*/ 2112 w 2611"/>
                <a:gd name="T99" fmla="*/ 114 h 324"/>
                <a:gd name="T100" fmla="*/ 2038 w 2611"/>
                <a:gd name="T101" fmla="*/ 46 h 324"/>
                <a:gd name="T102" fmla="*/ 2064 w 2611"/>
                <a:gd name="T103" fmla="*/ 323 h 324"/>
                <a:gd name="T104" fmla="*/ 2379 w 2611"/>
                <a:gd name="T105" fmla="*/ 323 h 324"/>
                <a:gd name="T106" fmla="*/ 2397 w 2611"/>
                <a:gd name="T107" fmla="*/ 281 h 324"/>
                <a:gd name="T108" fmla="*/ 2369 w 2611"/>
                <a:gd name="T109" fmla="*/ 1 h 324"/>
                <a:gd name="T110" fmla="*/ 385 w 2611"/>
                <a:gd name="T111" fmla="*/ 96 h 324"/>
                <a:gd name="T112" fmla="*/ 232 w 2611"/>
                <a:gd name="T113" fmla="*/ 202 h 324"/>
                <a:gd name="T114" fmla="*/ 370 w 2611"/>
                <a:gd name="T115" fmla="*/ 310 h 324"/>
                <a:gd name="T116" fmla="*/ 426 w 2611"/>
                <a:gd name="T117" fmla="*/ 283 h 324"/>
                <a:gd name="T118" fmla="*/ 385 w 2611"/>
                <a:gd name="T119" fmla="*/ 96 h 324"/>
                <a:gd name="T120" fmla="*/ 323 w 2611"/>
                <a:gd name="T121" fmla="*/ 137 h 324"/>
                <a:gd name="T122" fmla="*/ 323 w 2611"/>
                <a:gd name="T123" fmla="*/ 277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11" h="324">
                  <a:moveTo>
                    <a:pt x="961" y="232"/>
                  </a:moveTo>
                  <a:cubicBezTo>
                    <a:pt x="966" y="262"/>
                    <a:pt x="982" y="279"/>
                    <a:pt x="1010" y="279"/>
                  </a:cubicBezTo>
                  <a:cubicBezTo>
                    <a:pt x="1026" y="279"/>
                    <a:pt x="1042" y="274"/>
                    <a:pt x="1054" y="270"/>
                  </a:cubicBezTo>
                  <a:cubicBezTo>
                    <a:pt x="1060" y="268"/>
                    <a:pt x="1067" y="265"/>
                    <a:pt x="1067" y="265"/>
                  </a:cubicBezTo>
                  <a:cubicBezTo>
                    <a:pt x="1067" y="265"/>
                    <a:pt x="1074" y="274"/>
                    <a:pt x="1074" y="282"/>
                  </a:cubicBezTo>
                  <a:cubicBezTo>
                    <a:pt x="1075" y="292"/>
                    <a:pt x="1073" y="300"/>
                    <a:pt x="1064" y="307"/>
                  </a:cubicBezTo>
                  <a:cubicBezTo>
                    <a:pt x="1051" y="318"/>
                    <a:pt x="1028" y="324"/>
                    <a:pt x="1005" y="324"/>
                  </a:cubicBezTo>
                  <a:cubicBezTo>
                    <a:pt x="975" y="324"/>
                    <a:pt x="952" y="315"/>
                    <a:pt x="936" y="297"/>
                  </a:cubicBezTo>
                  <a:cubicBezTo>
                    <a:pt x="916" y="276"/>
                    <a:pt x="907" y="244"/>
                    <a:pt x="907" y="201"/>
                  </a:cubicBezTo>
                  <a:cubicBezTo>
                    <a:pt x="909" y="130"/>
                    <a:pt x="940" y="91"/>
                    <a:pt x="995" y="91"/>
                  </a:cubicBezTo>
                  <a:cubicBezTo>
                    <a:pt x="1025" y="91"/>
                    <a:pt x="1049" y="98"/>
                    <a:pt x="1064" y="114"/>
                  </a:cubicBezTo>
                  <a:cubicBezTo>
                    <a:pt x="1076" y="127"/>
                    <a:pt x="1080" y="145"/>
                    <a:pt x="1080" y="166"/>
                  </a:cubicBezTo>
                  <a:cubicBezTo>
                    <a:pt x="1078" y="210"/>
                    <a:pt x="1045" y="234"/>
                    <a:pt x="997" y="234"/>
                  </a:cubicBezTo>
                  <a:cubicBezTo>
                    <a:pt x="985" y="234"/>
                    <a:pt x="974" y="233"/>
                    <a:pt x="961" y="232"/>
                  </a:cubicBezTo>
                  <a:moveTo>
                    <a:pt x="994" y="198"/>
                  </a:moveTo>
                  <a:cubicBezTo>
                    <a:pt x="1018" y="198"/>
                    <a:pt x="1029" y="187"/>
                    <a:pt x="1029" y="165"/>
                  </a:cubicBezTo>
                  <a:cubicBezTo>
                    <a:pt x="1030" y="154"/>
                    <a:pt x="1027" y="144"/>
                    <a:pt x="1022" y="139"/>
                  </a:cubicBezTo>
                  <a:cubicBezTo>
                    <a:pt x="1017" y="133"/>
                    <a:pt x="1010" y="130"/>
                    <a:pt x="1000" y="130"/>
                  </a:cubicBezTo>
                  <a:cubicBezTo>
                    <a:pt x="974" y="130"/>
                    <a:pt x="962" y="153"/>
                    <a:pt x="961" y="197"/>
                  </a:cubicBezTo>
                  <a:cubicBezTo>
                    <a:pt x="975" y="198"/>
                    <a:pt x="982" y="198"/>
                    <a:pt x="994" y="198"/>
                  </a:cubicBezTo>
                  <a:moveTo>
                    <a:pt x="2186" y="232"/>
                  </a:moveTo>
                  <a:cubicBezTo>
                    <a:pt x="2191" y="262"/>
                    <a:pt x="2207" y="279"/>
                    <a:pt x="2235" y="279"/>
                  </a:cubicBezTo>
                  <a:cubicBezTo>
                    <a:pt x="2251" y="279"/>
                    <a:pt x="2267" y="274"/>
                    <a:pt x="2279" y="270"/>
                  </a:cubicBezTo>
                  <a:cubicBezTo>
                    <a:pt x="2285" y="268"/>
                    <a:pt x="2292" y="265"/>
                    <a:pt x="2292" y="265"/>
                  </a:cubicBezTo>
                  <a:cubicBezTo>
                    <a:pt x="2292" y="265"/>
                    <a:pt x="2299" y="274"/>
                    <a:pt x="2299" y="282"/>
                  </a:cubicBezTo>
                  <a:cubicBezTo>
                    <a:pt x="2300" y="292"/>
                    <a:pt x="2298" y="300"/>
                    <a:pt x="2289" y="307"/>
                  </a:cubicBezTo>
                  <a:cubicBezTo>
                    <a:pt x="2276" y="318"/>
                    <a:pt x="2253" y="324"/>
                    <a:pt x="2229" y="324"/>
                  </a:cubicBezTo>
                  <a:cubicBezTo>
                    <a:pt x="2200" y="324"/>
                    <a:pt x="2177" y="315"/>
                    <a:pt x="2161" y="297"/>
                  </a:cubicBezTo>
                  <a:cubicBezTo>
                    <a:pt x="2141" y="276"/>
                    <a:pt x="2131" y="244"/>
                    <a:pt x="2132" y="201"/>
                  </a:cubicBezTo>
                  <a:cubicBezTo>
                    <a:pt x="2134" y="130"/>
                    <a:pt x="2165" y="91"/>
                    <a:pt x="2220" y="91"/>
                  </a:cubicBezTo>
                  <a:cubicBezTo>
                    <a:pt x="2250" y="91"/>
                    <a:pt x="2274" y="98"/>
                    <a:pt x="2289" y="114"/>
                  </a:cubicBezTo>
                  <a:cubicBezTo>
                    <a:pt x="2301" y="127"/>
                    <a:pt x="2305" y="145"/>
                    <a:pt x="2305" y="166"/>
                  </a:cubicBezTo>
                  <a:cubicBezTo>
                    <a:pt x="2303" y="210"/>
                    <a:pt x="2270" y="234"/>
                    <a:pt x="2222" y="234"/>
                  </a:cubicBezTo>
                  <a:cubicBezTo>
                    <a:pt x="2210" y="234"/>
                    <a:pt x="2199" y="233"/>
                    <a:pt x="2186" y="232"/>
                  </a:cubicBezTo>
                  <a:moveTo>
                    <a:pt x="2219" y="198"/>
                  </a:moveTo>
                  <a:cubicBezTo>
                    <a:pt x="2243" y="198"/>
                    <a:pt x="2254" y="187"/>
                    <a:pt x="2254" y="165"/>
                  </a:cubicBezTo>
                  <a:cubicBezTo>
                    <a:pt x="2255" y="154"/>
                    <a:pt x="2252" y="144"/>
                    <a:pt x="2247" y="139"/>
                  </a:cubicBezTo>
                  <a:cubicBezTo>
                    <a:pt x="2242" y="133"/>
                    <a:pt x="2235" y="130"/>
                    <a:pt x="2225" y="130"/>
                  </a:cubicBezTo>
                  <a:cubicBezTo>
                    <a:pt x="2199" y="130"/>
                    <a:pt x="2187" y="153"/>
                    <a:pt x="2186" y="197"/>
                  </a:cubicBezTo>
                  <a:cubicBezTo>
                    <a:pt x="2200" y="198"/>
                    <a:pt x="2207" y="198"/>
                    <a:pt x="2219" y="198"/>
                  </a:cubicBezTo>
                  <a:moveTo>
                    <a:pt x="2492" y="232"/>
                  </a:moveTo>
                  <a:cubicBezTo>
                    <a:pt x="2497" y="262"/>
                    <a:pt x="2513" y="279"/>
                    <a:pt x="2541" y="279"/>
                  </a:cubicBezTo>
                  <a:cubicBezTo>
                    <a:pt x="2557" y="279"/>
                    <a:pt x="2573" y="274"/>
                    <a:pt x="2585" y="270"/>
                  </a:cubicBezTo>
                  <a:cubicBezTo>
                    <a:pt x="2591" y="268"/>
                    <a:pt x="2598" y="265"/>
                    <a:pt x="2598" y="265"/>
                  </a:cubicBezTo>
                  <a:cubicBezTo>
                    <a:pt x="2598" y="265"/>
                    <a:pt x="2605" y="274"/>
                    <a:pt x="2605" y="282"/>
                  </a:cubicBezTo>
                  <a:cubicBezTo>
                    <a:pt x="2606" y="292"/>
                    <a:pt x="2604" y="300"/>
                    <a:pt x="2594" y="307"/>
                  </a:cubicBezTo>
                  <a:cubicBezTo>
                    <a:pt x="2582" y="318"/>
                    <a:pt x="2559" y="324"/>
                    <a:pt x="2535" y="324"/>
                  </a:cubicBezTo>
                  <a:cubicBezTo>
                    <a:pt x="2506" y="324"/>
                    <a:pt x="2483" y="315"/>
                    <a:pt x="2466" y="297"/>
                  </a:cubicBezTo>
                  <a:cubicBezTo>
                    <a:pt x="2447" y="276"/>
                    <a:pt x="2437" y="244"/>
                    <a:pt x="2438" y="201"/>
                  </a:cubicBezTo>
                  <a:cubicBezTo>
                    <a:pt x="2439" y="130"/>
                    <a:pt x="2471" y="91"/>
                    <a:pt x="2526" y="91"/>
                  </a:cubicBezTo>
                  <a:cubicBezTo>
                    <a:pt x="2556" y="91"/>
                    <a:pt x="2580" y="98"/>
                    <a:pt x="2594" y="114"/>
                  </a:cubicBezTo>
                  <a:cubicBezTo>
                    <a:pt x="2607" y="127"/>
                    <a:pt x="2611" y="145"/>
                    <a:pt x="2611" y="166"/>
                  </a:cubicBezTo>
                  <a:cubicBezTo>
                    <a:pt x="2609" y="210"/>
                    <a:pt x="2576" y="234"/>
                    <a:pt x="2528" y="234"/>
                  </a:cubicBezTo>
                  <a:cubicBezTo>
                    <a:pt x="2516" y="234"/>
                    <a:pt x="2505" y="233"/>
                    <a:pt x="2492" y="232"/>
                  </a:cubicBezTo>
                  <a:moveTo>
                    <a:pt x="2525" y="198"/>
                  </a:moveTo>
                  <a:cubicBezTo>
                    <a:pt x="2549" y="198"/>
                    <a:pt x="2560" y="187"/>
                    <a:pt x="2560" y="165"/>
                  </a:cubicBezTo>
                  <a:cubicBezTo>
                    <a:pt x="2560" y="154"/>
                    <a:pt x="2558" y="144"/>
                    <a:pt x="2553" y="139"/>
                  </a:cubicBezTo>
                  <a:cubicBezTo>
                    <a:pt x="2548" y="133"/>
                    <a:pt x="2540" y="130"/>
                    <a:pt x="2531" y="130"/>
                  </a:cubicBezTo>
                  <a:cubicBezTo>
                    <a:pt x="2505" y="130"/>
                    <a:pt x="2493" y="153"/>
                    <a:pt x="2492" y="197"/>
                  </a:cubicBezTo>
                  <a:cubicBezTo>
                    <a:pt x="2506" y="198"/>
                    <a:pt x="2512" y="198"/>
                    <a:pt x="2525" y="198"/>
                  </a:cubicBezTo>
                  <a:moveTo>
                    <a:pt x="1516" y="91"/>
                  </a:moveTo>
                  <a:cubicBezTo>
                    <a:pt x="1481" y="91"/>
                    <a:pt x="1422" y="106"/>
                    <a:pt x="1422" y="208"/>
                  </a:cubicBezTo>
                  <a:cubicBezTo>
                    <a:pt x="1422" y="309"/>
                    <a:pt x="1481" y="324"/>
                    <a:pt x="1516" y="324"/>
                  </a:cubicBezTo>
                  <a:cubicBezTo>
                    <a:pt x="1552" y="324"/>
                    <a:pt x="1611" y="309"/>
                    <a:pt x="1611" y="208"/>
                  </a:cubicBezTo>
                  <a:cubicBezTo>
                    <a:pt x="1611" y="106"/>
                    <a:pt x="1552" y="91"/>
                    <a:pt x="1516" y="91"/>
                  </a:cubicBezTo>
                  <a:moveTo>
                    <a:pt x="1516" y="279"/>
                  </a:moveTo>
                  <a:cubicBezTo>
                    <a:pt x="1486" y="279"/>
                    <a:pt x="1478" y="239"/>
                    <a:pt x="1478" y="208"/>
                  </a:cubicBezTo>
                  <a:cubicBezTo>
                    <a:pt x="1478" y="177"/>
                    <a:pt x="1486" y="136"/>
                    <a:pt x="1516" y="136"/>
                  </a:cubicBezTo>
                  <a:cubicBezTo>
                    <a:pt x="1547" y="136"/>
                    <a:pt x="1554" y="177"/>
                    <a:pt x="1554" y="208"/>
                  </a:cubicBezTo>
                  <a:cubicBezTo>
                    <a:pt x="1554" y="239"/>
                    <a:pt x="1547" y="279"/>
                    <a:pt x="1516" y="279"/>
                  </a:cubicBezTo>
                  <a:moveTo>
                    <a:pt x="1735" y="91"/>
                  </a:moveTo>
                  <a:cubicBezTo>
                    <a:pt x="1699" y="91"/>
                    <a:pt x="1640" y="106"/>
                    <a:pt x="1640" y="208"/>
                  </a:cubicBezTo>
                  <a:cubicBezTo>
                    <a:pt x="1640" y="309"/>
                    <a:pt x="1699" y="324"/>
                    <a:pt x="1735" y="324"/>
                  </a:cubicBezTo>
                  <a:cubicBezTo>
                    <a:pt x="1770" y="324"/>
                    <a:pt x="1829" y="309"/>
                    <a:pt x="1829" y="208"/>
                  </a:cubicBezTo>
                  <a:cubicBezTo>
                    <a:pt x="1829" y="106"/>
                    <a:pt x="1770" y="91"/>
                    <a:pt x="1735" y="91"/>
                  </a:cubicBezTo>
                  <a:moveTo>
                    <a:pt x="1735" y="279"/>
                  </a:moveTo>
                  <a:cubicBezTo>
                    <a:pt x="1704" y="279"/>
                    <a:pt x="1697" y="239"/>
                    <a:pt x="1697" y="208"/>
                  </a:cubicBezTo>
                  <a:cubicBezTo>
                    <a:pt x="1697" y="177"/>
                    <a:pt x="1704" y="136"/>
                    <a:pt x="1735" y="136"/>
                  </a:cubicBezTo>
                  <a:cubicBezTo>
                    <a:pt x="1766" y="136"/>
                    <a:pt x="1772" y="177"/>
                    <a:pt x="1772" y="208"/>
                  </a:cubicBezTo>
                  <a:cubicBezTo>
                    <a:pt x="1772" y="239"/>
                    <a:pt x="1766" y="279"/>
                    <a:pt x="1735" y="279"/>
                  </a:cubicBezTo>
                  <a:moveTo>
                    <a:pt x="205" y="0"/>
                  </a:moveTo>
                  <a:cubicBezTo>
                    <a:pt x="187" y="0"/>
                    <a:pt x="175" y="4"/>
                    <a:pt x="175" y="4"/>
                  </a:cubicBezTo>
                  <a:cubicBezTo>
                    <a:pt x="137" y="160"/>
                    <a:pt x="137" y="160"/>
                    <a:pt x="137" y="160"/>
                  </a:cubicBezTo>
                  <a:cubicBezTo>
                    <a:pt x="133" y="176"/>
                    <a:pt x="123" y="222"/>
                    <a:pt x="119" y="247"/>
                  </a:cubicBezTo>
                  <a:cubicBezTo>
                    <a:pt x="115" y="221"/>
                    <a:pt x="106" y="177"/>
                    <a:pt x="101" y="160"/>
                  </a:cubicBezTo>
                  <a:cubicBezTo>
                    <a:pt x="69" y="25"/>
                    <a:pt x="69" y="25"/>
                    <a:pt x="69" y="25"/>
                  </a:cubicBezTo>
                  <a:cubicBezTo>
                    <a:pt x="65" y="9"/>
                    <a:pt x="55" y="1"/>
                    <a:pt x="39" y="1"/>
                  </a:cubicBezTo>
                  <a:cubicBezTo>
                    <a:pt x="18" y="1"/>
                    <a:pt x="4" y="10"/>
                    <a:pt x="0" y="13"/>
                  </a:cubicBezTo>
                  <a:cubicBezTo>
                    <a:pt x="4" y="19"/>
                    <a:pt x="8" y="25"/>
                    <a:pt x="13" y="42"/>
                  </a:cubicBezTo>
                  <a:cubicBezTo>
                    <a:pt x="79" y="292"/>
                    <a:pt x="79" y="292"/>
                    <a:pt x="79" y="292"/>
                  </a:cubicBezTo>
                  <a:cubicBezTo>
                    <a:pt x="84" y="312"/>
                    <a:pt x="92" y="321"/>
                    <a:pt x="106" y="321"/>
                  </a:cubicBezTo>
                  <a:cubicBezTo>
                    <a:pt x="120" y="321"/>
                    <a:pt x="134" y="321"/>
                    <a:pt x="151" y="312"/>
                  </a:cubicBezTo>
                  <a:cubicBezTo>
                    <a:pt x="226" y="29"/>
                    <a:pt x="226" y="29"/>
                    <a:pt x="226" y="29"/>
                  </a:cubicBezTo>
                  <a:cubicBezTo>
                    <a:pt x="232" y="9"/>
                    <a:pt x="220" y="0"/>
                    <a:pt x="205" y="0"/>
                  </a:cubicBezTo>
                  <a:moveTo>
                    <a:pt x="864" y="24"/>
                  </a:moveTo>
                  <a:cubicBezTo>
                    <a:pt x="864" y="7"/>
                    <a:pt x="854" y="1"/>
                    <a:pt x="840" y="1"/>
                  </a:cubicBezTo>
                  <a:cubicBezTo>
                    <a:pt x="828" y="1"/>
                    <a:pt x="813" y="3"/>
                    <a:pt x="807" y="6"/>
                  </a:cubicBezTo>
                  <a:cubicBezTo>
                    <a:pt x="811" y="13"/>
                    <a:pt x="812" y="25"/>
                    <a:pt x="812" y="35"/>
                  </a:cubicBezTo>
                  <a:cubicBezTo>
                    <a:pt x="812" y="112"/>
                    <a:pt x="812" y="112"/>
                    <a:pt x="812" y="112"/>
                  </a:cubicBezTo>
                  <a:cubicBezTo>
                    <a:pt x="799" y="99"/>
                    <a:pt x="785" y="91"/>
                    <a:pt x="766" y="91"/>
                  </a:cubicBezTo>
                  <a:cubicBezTo>
                    <a:pt x="744" y="91"/>
                    <a:pt x="726" y="98"/>
                    <a:pt x="713" y="113"/>
                  </a:cubicBezTo>
                  <a:cubicBezTo>
                    <a:pt x="689" y="138"/>
                    <a:pt x="684" y="180"/>
                    <a:pt x="684" y="202"/>
                  </a:cubicBezTo>
                  <a:cubicBezTo>
                    <a:pt x="684" y="246"/>
                    <a:pt x="693" y="282"/>
                    <a:pt x="713" y="303"/>
                  </a:cubicBezTo>
                  <a:cubicBezTo>
                    <a:pt x="725" y="316"/>
                    <a:pt x="742" y="323"/>
                    <a:pt x="760" y="323"/>
                  </a:cubicBezTo>
                  <a:cubicBezTo>
                    <a:pt x="784" y="323"/>
                    <a:pt x="802" y="312"/>
                    <a:pt x="813" y="295"/>
                  </a:cubicBezTo>
                  <a:cubicBezTo>
                    <a:pt x="813" y="295"/>
                    <a:pt x="817" y="305"/>
                    <a:pt x="821" y="310"/>
                  </a:cubicBezTo>
                  <a:cubicBezTo>
                    <a:pt x="828" y="318"/>
                    <a:pt x="836" y="322"/>
                    <a:pt x="850" y="322"/>
                  </a:cubicBezTo>
                  <a:cubicBezTo>
                    <a:pt x="874" y="322"/>
                    <a:pt x="887" y="314"/>
                    <a:pt x="888" y="295"/>
                  </a:cubicBezTo>
                  <a:cubicBezTo>
                    <a:pt x="888" y="291"/>
                    <a:pt x="886" y="285"/>
                    <a:pt x="885" y="283"/>
                  </a:cubicBezTo>
                  <a:cubicBezTo>
                    <a:pt x="878" y="283"/>
                    <a:pt x="878" y="283"/>
                    <a:pt x="878" y="283"/>
                  </a:cubicBezTo>
                  <a:cubicBezTo>
                    <a:pt x="873" y="283"/>
                    <a:pt x="870" y="282"/>
                    <a:pt x="868" y="281"/>
                  </a:cubicBezTo>
                  <a:cubicBezTo>
                    <a:pt x="865" y="278"/>
                    <a:pt x="864" y="273"/>
                    <a:pt x="864" y="264"/>
                  </a:cubicBezTo>
                  <a:lnTo>
                    <a:pt x="864" y="24"/>
                  </a:lnTo>
                  <a:close/>
                  <a:moveTo>
                    <a:pt x="774" y="277"/>
                  </a:moveTo>
                  <a:cubicBezTo>
                    <a:pt x="766" y="277"/>
                    <a:pt x="760" y="274"/>
                    <a:pt x="755" y="269"/>
                  </a:cubicBezTo>
                  <a:cubicBezTo>
                    <a:pt x="740" y="253"/>
                    <a:pt x="738" y="219"/>
                    <a:pt x="738" y="206"/>
                  </a:cubicBezTo>
                  <a:cubicBezTo>
                    <a:pt x="738" y="175"/>
                    <a:pt x="745" y="137"/>
                    <a:pt x="775" y="137"/>
                  </a:cubicBezTo>
                  <a:cubicBezTo>
                    <a:pt x="784" y="137"/>
                    <a:pt x="791" y="140"/>
                    <a:pt x="796" y="145"/>
                  </a:cubicBezTo>
                  <a:cubicBezTo>
                    <a:pt x="808" y="158"/>
                    <a:pt x="810" y="185"/>
                    <a:pt x="810" y="206"/>
                  </a:cubicBezTo>
                  <a:cubicBezTo>
                    <a:pt x="810" y="213"/>
                    <a:pt x="810" y="213"/>
                    <a:pt x="810" y="213"/>
                  </a:cubicBezTo>
                  <a:cubicBezTo>
                    <a:pt x="809" y="242"/>
                    <a:pt x="802" y="277"/>
                    <a:pt x="774" y="277"/>
                  </a:cubicBezTo>
                  <a:moveTo>
                    <a:pt x="659" y="283"/>
                  </a:moveTo>
                  <a:cubicBezTo>
                    <a:pt x="652" y="283"/>
                    <a:pt x="652" y="283"/>
                    <a:pt x="652" y="283"/>
                  </a:cubicBezTo>
                  <a:cubicBezTo>
                    <a:pt x="647" y="283"/>
                    <a:pt x="644" y="282"/>
                    <a:pt x="642" y="281"/>
                  </a:cubicBezTo>
                  <a:cubicBezTo>
                    <a:pt x="640" y="278"/>
                    <a:pt x="639" y="273"/>
                    <a:pt x="639" y="264"/>
                  </a:cubicBezTo>
                  <a:cubicBezTo>
                    <a:pt x="639" y="189"/>
                    <a:pt x="639" y="189"/>
                    <a:pt x="639" y="189"/>
                  </a:cubicBezTo>
                  <a:cubicBezTo>
                    <a:pt x="639" y="144"/>
                    <a:pt x="631" y="92"/>
                    <a:pt x="575" y="92"/>
                  </a:cubicBezTo>
                  <a:cubicBezTo>
                    <a:pt x="554" y="92"/>
                    <a:pt x="536" y="100"/>
                    <a:pt x="523" y="115"/>
                  </a:cubicBezTo>
                  <a:cubicBezTo>
                    <a:pt x="522" y="100"/>
                    <a:pt x="512" y="94"/>
                    <a:pt x="499" y="94"/>
                  </a:cubicBezTo>
                  <a:cubicBezTo>
                    <a:pt x="486" y="94"/>
                    <a:pt x="472" y="97"/>
                    <a:pt x="466" y="100"/>
                  </a:cubicBezTo>
                  <a:cubicBezTo>
                    <a:pt x="469" y="106"/>
                    <a:pt x="470" y="118"/>
                    <a:pt x="470" y="129"/>
                  </a:cubicBezTo>
                  <a:cubicBezTo>
                    <a:pt x="470" y="150"/>
                    <a:pt x="470" y="150"/>
                    <a:pt x="470" y="150"/>
                  </a:cubicBezTo>
                  <a:cubicBezTo>
                    <a:pt x="470" y="150"/>
                    <a:pt x="470" y="150"/>
                    <a:pt x="470" y="150"/>
                  </a:cubicBezTo>
                  <a:cubicBezTo>
                    <a:pt x="470" y="299"/>
                    <a:pt x="470" y="299"/>
                    <a:pt x="470" y="299"/>
                  </a:cubicBezTo>
                  <a:cubicBezTo>
                    <a:pt x="470" y="316"/>
                    <a:pt x="480" y="321"/>
                    <a:pt x="495" y="321"/>
                  </a:cubicBezTo>
                  <a:cubicBezTo>
                    <a:pt x="507" y="321"/>
                    <a:pt x="519" y="319"/>
                    <a:pt x="525" y="316"/>
                  </a:cubicBezTo>
                  <a:cubicBezTo>
                    <a:pt x="525" y="275"/>
                    <a:pt x="525" y="275"/>
                    <a:pt x="525" y="275"/>
                  </a:cubicBezTo>
                  <a:cubicBezTo>
                    <a:pt x="525" y="275"/>
                    <a:pt x="525" y="275"/>
                    <a:pt x="525" y="275"/>
                  </a:cubicBezTo>
                  <a:cubicBezTo>
                    <a:pt x="525" y="166"/>
                    <a:pt x="525" y="166"/>
                    <a:pt x="525" y="166"/>
                  </a:cubicBezTo>
                  <a:cubicBezTo>
                    <a:pt x="532" y="147"/>
                    <a:pt x="542" y="138"/>
                    <a:pt x="557" y="138"/>
                  </a:cubicBezTo>
                  <a:cubicBezTo>
                    <a:pt x="574" y="138"/>
                    <a:pt x="583" y="152"/>
                    <a:pt x="584" y="177"/>
                  </a:cubicBezTo>
                  <a:cubicBezTo>
                    <a:pt x="584" y="270"/>
                    <a:pt x="584" y="270"/>
                    <a:pt x="584" y="270"/>
                  </a:cubicBezTo>
                  <a:cubicBezTo>
                    <a:pt x="584" y="288"/>
                    <a:pt x="588" y="302"/>
                    <a:pt x="594" y="310"/>
                  </a:cubicBezTo>
                  <a:cubicBezTo>
                    <a:pt x="601" y="318"/>
                    <a:pt x="611" y="322"/>
                    <a:pt x="624" y="322"/>
                  </a:cubicBezTo>
                  <a:cubicBezTo>
                    <a:pt x="648" y="322"/>
                    <a:pt x="662" y="314"/>
                    <a:pt x="662" y="295"/>
                  </a:cubicBezTo>
                  <a:cubicBezTo>
                    <a:pt x="662" y="291"/>
                    <a:pt x="660" y="285"/>
                    <a:pt x="659" y="283"/>
                  </a:cubicBezTo>
                  <a:moveTo>
                    <a:pt x="1402" y="283"/>
                  </a:moveTo>
                  <a:cubicBezTo>
                    <a:pt x="1394" y="283"/>
                    <a:pt x="1394" y="283"/>
                    <a:pt x="1394" y="283"/>
                  </a:cubicBezTo>
                  <a:cubicBezTo>
                    <a:pt x="1389" y="283"/>
                    <a:pt x="1387" y="282"/>
                    <a:pt x="1385" y="281"/>
                  </a:cubicBezTo>
                  <a:cubicBezTo>
                    <a:pt x="1382" y="278"/>
                    <a:pt x="1381" y="273"/>
                    <a:pt x="1381" y="264"/>
                  </a:cubicBezTo>
                  <a:cubicBezTo>
                    <a:pt x="1381" y="183"/>
                    <a:pt x="1381" y="183"/>
                    <a:pt x="1381" y="183"/>
                  </a:cubicBezTo>
                  <a:cubicBezTo>
                    <a:pt x="1381" y="142"/>
                    <a:pt x="1374" y="94"/>
                    <a:pt x="1315" y="94"/>
                  </a:cubicBezTo>
                  <a:cubicBezTo>
                    <a:pt x="1296" y="94"/>
                    <a:pt x="1275" y="102"/>
                    <a:pt x="1261" y="118"/>
                  </a:cubicBezTo>
                  <a:cubicBezTo>
                    <a:pt x="1251" y="102"/>
                    <a:pt x="1236" y="94"/>
                    <a:pt x="1216" y="94"/>
                  </a:cubicBezTo>
                  <a:cubicBezTo>
                    <a:pt x="1198" y="94"/>
                    <a:pt x="1181" y="102"/>
                    <a:pt x="1166" y="118"/>
                  </a:cubicBezTo>
                  <a:cubicBezTo>
                    <a:pt x="1166" y="117"/>
                    <a:pt x="1166" y="117"/>
                    <a:pt x="1166" y="117"/>
                  </a:cubicBezTo>
                  <a:cubicBezTo>
                    <a:pt x="1166" y="100"/>
                    <a:pt x="1156" y="94"/>
                    <a:pt x="1142" y="94"/>
                  </a:cubicBezTo>
                  <a:cubicBezTo>
                    <a:pt x="1130" y="94"/>
                    <a:pt x="1115" y="97"/>
                    <a:pt x="1109" y="100"/>
                  </a:cubicBezTo>
                  <a:cubicBezTo>
                    <a:pt x="1112" y="106"/>
                    <a:pt x="1113" y="115"/>
                    <a:pt x="1113" y="125"/>
                  </a:cubicBezTo>
                  <a:cubicBezTo>
                    <a:pt x="1113" y="299"/>
                    <a:pt x="1113" y="299"/>
                    <a:pt x="1113" y="299"/>
                  </a:cubicBezTo>
                  <a:cubicBezTo>
                    <a:pt x="1113" y="316"/>
                    <a:pt x="1124" y="322"/>
                    <a:pt x="1138" y="322"/>
                  </a:cubicBezTo>
                  <a:cubicBezTo>
                    <a:pt x="1150" y="322"/>
                    <a:pt x="1162" y="319"/>
                    <a:pt x="1168" y="316"/>
                  </a:cubicBezTo>
                  <a:cubicBezTo>
                    <a:pt x="1168" y="168"/>
                    <a:pt x="1168" y="168"/>
                    <a:pt x="1168" y="168"/>
                  </a:cubicBezTo>
                  <a:cubicBezTo>
                    <a:pt x="1171" y="156"/>
                    <a:pt x="1179" y="140"/>
                    <a:pt x="1195" y="140"/>
                  </a:cubicBezTo>
                  <a:cubicBezTo>
                    <a:pt x="1202" y="140"/>
                    <a:pt x="1207" y="142"/>
                    <a:pt x="1211" y="147"/>
                  </a:cubicBezTo>
                  <a:cubicBezTo>
                    <a:pt x="1217" y="153"/>
                    <a:pt x="1220" y="164"/>
                    <a:pt x="1220" y="179"/>
                  </a:cubicBezTo>
                  <a:cubicBezTo>
                    <a:pt x="1220" y="299"/>
                    <a:pt x="1220" y="299"/>
                    <a:pt x="1220" y="299"/>
                  </a:cubicBezTo>
                  <a:cubicBezTo>
                    <a:pt x="1220" y="316"/>
                    <a:pt x="1230" y="322"/>
                    <a:pt x="1245" y="322"/>
                  </a:cubicBezTo>
                  <a:cubicBezTo>
                    <a:pt x="1257" y="322"/>
                    <a:pt x="1269" y="319"/>
                    <a:pt x="1275" y="316"/>
                  </a:cubicBezTo>
                  <a:cubicBezTo>
                    <a:pt x="1275" y="168"/>
                    <a:pt x="1275" y="168"/>
                    <a:pt x="1275" y="168"/>
                  </a:cubicBezTo>
                  <a:cubicBezTo>
                    <a:pt x="1278" y="156"/>
                    <a:pt x="1287" y="140"/>
                    <a:pt x="1303" y="140"/>
                  </a:cubicBezTo>
                  <a:cubicBezTo>
                    <a:pt x="1309" y="140"/>
                    <a:pt x="1314" y="142"/>
                    <a:pt x="1318" y="147"/>
                  </a:cubicBezTo>
                  <a:cubicBezTo>
                    <a:pt x="1324" y="153"/>
                    <a:pt x="1327" y="164"/>
                    <a:pt x="1327" y="179"/>
                  </a:cubicBezTo>
                  <a:cubicBezTo>
                    <a:pt x="1327" y="270"/>
                    <a:pt x="1327" y="270"/>
                    <a:pt x="1327" y="270"/>
                  </a:cubicBezTo>
                  <a:cubicBezTo>
                    <a:pt x="1327" y="288"/>
                    <a:pt x="1330" y="302"/>
                    <a:pt x="1337" y="310"/>
                  </a:cubicBezTo>
                  <a:cubicBezTo>
                    <a:pt x="1344" y="318"/>
                    <a:pt x="1353" y="322"/>
                    <a:pt x="1367" y="322"/>
                  </a:cubicBezTo>
                  <a:cubicBezTo>
                    <a:pt x="1391" y="322"/>
                    <a:pt x="1404" y="314"/>
                    <a:pt x="1404" y="295"/>
                  </a:cubicBezTo>
                  <a:cubicBezTo>
                    <a:pt x="1404" y="291"/>
                    <a:pt x="1403" y="285"/>
                    <a:pt x="1402" y="283"/>
                  </a:cubicBezTo>
                  <a:moveTo>
                    <a:pt x="1864" y="299"/>
                  </a:moveTo>
                  <a:cubicBezTo>
                    <a:pt x="1864" y="316"/>
                    <a:pt x="1875" y="322"/>
                    <a:pt x="1889" y="322"/>
                  </a:cubicBezTo>
                  <a:cubicBezTo>
                    <a:pt x="1901" y="322"/>
                    <a:pt x="1913" y="319"/>
                    <a:pt x="1919" y="316"/>
                  </a:cubicBezTo>
                  <a:cubicBezTo>
                    <a:pt x="1919" y="184"/>
                    <a:pt x="1919" y="184"/>
                    <a:pt x="1919" y="184"/>
                  </a:cubicBezTo>
                  <a:cubicBezTo>
                    <a:pt x="1921" y="156"/>
                    <a:pt x="1933" y="142"/>
                    <a:pt x="1955" y="142"/>
                  </a:cubicBezTo>
                  <a:cubicBezTo>
                    <a:pt x="1962" y="142"/>
                    <a:pt x="1967" y="144"/>
                    <a:pt x="1971" y="146"/>
                  </a:cubicBezTo>
                  <a:cubicBezTo>
                    <a:pt x="1973" y="147"/>
                    <a:pt x="1977" y="148"/>
                    <a:pt x="1979" y="150"/>
                  </a:cubicBezTo>
                  <a:cubicBezTo>
                    <a:pt x="1979" y="150"/>
                    <a:pt x="1989" y="140"/>
                    <a:pt x="1989" y="125"/>
                  </a:cubicBezTo>
                  <a:cubicBezTo>
                    <a:pt x="1988" y="108"/>
                    <a:pt x="1977" y="91"/>
                    <a:pt x="1952" y="91"/>
                  </a:cubicBezTo>
                  <a:cubicBezTo>
                    <a:pt x="1938" y="91"/>
                    <a:pt x="1924" y="98"/>
                    <a:pt x="1915" y="110"/>
                  </a:cubicBezTo>
                  <a:cubicBezTo>
                    <a:pt x="1912" y="99"/>
                    <a:pt x="1904" y="94"/>
                    <a:pt x="1892" y="94"/>
                  </a:cubicBezTo>
                  <a:cubicBezTo>
                    <a:pt x="1880" y="94"/>
                    <a:pt x="1866" y="97"/>
                    <a:pt x="1860" y="100"/>
                  </a:cubicBezTo>
                  <a:cubicBezTo>
                    <a:pt x="1863" y="106"/>
                    <a:pt x="1864" y="118"/>
                    <a:pt x="1864" y="129"/>
                  </a:cubicBezTo>
                  <a:lnTo>
                    <a:pt x="1864" y="299"/>
                  </a:lnTo>
                  <a:close/>
                  <a:moveTo>
                    <a:pt x="2113" y="287"/>
                  </a:moveTo>
                  <a:cubicBezTo>
                    <a:pt x="2111" y="275"/>
                    <a:pt x="2105" y="270"/>
                    <a:pt x="2105" y="270"/>
                  </a:cubicBezTo>
                  <a:cubicBezTo>
                    <a:pt x="2103" y="270"/>
                    <a:pt x="2099" y="272"/>
                    <a:pt x="2096" y="273"/>
                  </a:cubicBezTo>
                  <a:cubicBezTo>
                    <a:pt x="2092" y="275"/>
                    <a:pt x="2085" y="277"/>
                    <a:pt x="2079" y="277"/>
                  </a:cubicBezTo>
                  <a:cubicBezTo>
                    <a:pt x="2068" y="277"/>
                    <a:pt x="2063" y="270"/>
                    <a:pt x="2063" y="252"/>
                  </a:cubicBezTo>
                  <a:cubicBezTo>
                    <a:pt x="2063" y="142"/>
                    <a:pt x="2063" y="142"/>
                    <a:pt x="2063" y="142"/>
                  </a:cubicBezTo>
                  <a:cubicBezTo>
                    <a:pt x="2091" y="142"/>
                    <a:pt x="2091" y="142"/>
                    <a:pt x="2091" y="142"/>
                  </a:cubicBezTo>
                  <a:cubicBezTo>
                    <a:pt x="2109" y="142"/>
                    <a:pt x="2112" y="125"/>
                    <a:pt x="2112" y="114"/>
                  </a:cubicBezTo>
                  <a:cubicBezTo>
                    <a:pt x="2112" y="107"/>
                    <a:pt x="2111" y="101"/>
                    <a:pt x="2106" y="97"/>
                  </a:cubicBezTo>
                  <a:cubicBezTo>
                    <a:pt x="2063" y="97"/>
                    <a:pt x="2063" y="97"/>
                    <a:pt x="2063" y="97"/>
                  </a:cubicBezTo>
                  <a:cubicBezTo>
                    <a:pt x="2063" y="69"/>
                    <a:pt x="2063" y="69"/>
                    <a:pt x="2063" y="69"/>
                  </a:cubicBezTo>
                  <a:cubicBezTo>
                    <a:pt x="2063" y="52"/>
                    <a:pt x="2053" y="46"/>
                    <a:pt x="2038" y="46"/>
                  </a:cubicBezTo>
                  <a:cubicBezTo>
                    <a:pt x="2025" y="46"/>
                    <a:pt x="2010" y="48"/>
                    <a:pt x="2004" y="51"/>
                  </a:cubicBezTo>
                  <a:cubicBezTo>
                    <a:pt x="2007" y="57"/>
                    <a:pt x="2008" y="66"/>
                    <a:pt x="2008" y="76"/>
                  </a:cubicBezTo>
                  <a:cubicBezTo>
                    <a:pt x="2008" y="256"/>
                    <a:pt x="2008" y="256"/>
                    <a:pt x="2008" y="256"/>
                  </a:cubicBezTo>
                  <a:cubicBezTo>
                    <a:pt x="2008" y="299"/>
                    <a:pt x="2030" y="323"/>
                    <a:pt x="2064" y="323"/>
                  </a:cubicBezTo>
                  <a:cubicBezTo>
                    <a:pt x="2100" y="323"/>
                    <a:pt x="2115" y="304"/>
                    <a:pt x="2113" y="287"/>
                  </a:cubicBezTo>
                  <a:moveTo>
                    <a:pt x="2339" y="270"/>
                  </a:moveTo>
                  <a:cubicBezTo>
                    <a:pt x="2339" y="289"/>
                    <a:pt x="2343" y="302"/>
                    <a:pt x="2350" y="311"/>
                  </a:cubicBezTo>
                  <a:cubicBezTo>
                    <a:pt x="2356" y="319"/>
                    <a:pt x="2366" y="323"/>
                    <a:pt x="2379" y="323"/>
                  </a:cubicBezTo>
                  <a:cubicBezTo>
                    <a:pt x="2404" y="323"/>
                    <a:pt x="2417" y="314"/>
                    <a:pt x="2417" y="295"/>
                  </a:cubicBezTo>
                  <a:cubicBezTo>
                    <a:pt x="2417" y="291"/>
                    <a:pt x="2416" y="285"/>
                    <a:pt x="2415" y="283"/>
                  </a:cubicBezTo>
                  <a:cubicBezTo>
                    <a:pt x="2407" y="283"/>
                    <a:pt x="2407" y="283"/>
                    <a:pt x="2407" y="283"/>
                  </a:cubicBezTo>
                  <a:cubicBezTo>
                    <a:pt x="2402" y="283"/>
                    <a:pt x="2399" y="283"/>
                    <a:pt x="2397" y="281"/>
                  </a:cubicBezTo>
                  <a:cubicBezTo>
                    <a:pt x="2395" y="279"/>
                    <a:pt x="2394" y="274"/>
                    <a:pt x="2394" y="264"/>
                  </a:cubicBezTo>
                  <a:cubicBezTo>
                    <a:pt x="2394" y="24"/>
                    <a:pt x="2394" y="24"/>
                    <a:pt x="2394" y="24"/>
                  </a:cubicBezTo>
                  <a:cubicBezTo>
                    <a:pt x="2394" y="21"/>
                    <a:pt x="2394" y="18"/>
                    <a:pt x="2393" y="16"/>
                  </a:cubicBezTo>
                  <a:cubicBezTo>
                    <a:pt x="2390" y="5"/>
                    <a:pt x="2381" y="1"/>
                    <a:pt x="2369" y="1"/>
                  </a:cubicBezTo>
                  <a:cubicBezTo>
                    <a:pt x="2356" y="1"/>
                    <a:pt x="2341" y="4"/>
                    <a:pt x="2335" y="7"/>
                  </a:cubicBezTo>
                  <a:cubicBezTo>
                    <a:pt x="2338" y="13"/>
                    <a:pt x="2339" y="25"/>
                    <a:pt x="2339" y="36"/>
                  </a:cubicBezTo>
                  <a:lnTo>
                    <a:pt x="2339" y="270"/>
                  </a:lnTo>
                  <a:close/>
                  <a:moveTo>
                    <a:pt x="385" y="96"/>
                  </a:moveTo>
                  <a:cubicBezTo>
                    <a:pt x="373" y="96"/>
                    <a:pt x="364" y="101"/>
                    <a:pt x="362" y="115"/>
                  </a:cubicBezTo>
                  <a:cubicBezTo>
                    <a:pt x="353" y="102"/>
                    <a:pt x="336" y="91"/>
                    <a:pt x="315" y="91"/>
                  </a:cubicBezTo>
                  <a:cubicBezTo>
                    <a:pt x="293" y="91"/>
                    <a:pt x="275" y="98"/>
                    <a:pt x="261" y="113"/>
                  </a:cubicBezTo>
                  <a:cubicBezTo>
                    <a:pt x="237" y="138"/>
                    <a:pt x="232" y="180"/>
                    <a:pt x="232" y="202"/>
                  </a:cubicBezTo>
                  <a:cubicBezTo>
                    <a:pt x="232" y="245"/>
                    <a:pt x="241" y="281"/>
                    <a:pt x="262" y="303"/>
                  </a:cubicBezTo>
                  <a:cubicBezTo>
                    <a:pt x="274" y="316"/>
                    <a:pt x="290" y="323"/>
                    <a:pt x="309" y="323"/>
                  </a:cubicBezTo>
                  <a:cubicBezTo>
                    <a:pt x="332" y="323"/>
                    <a:pt x="351" y="313"/>
                    <a:pt x="362" y="295"/>
                  </a:cubicBezTo>
                  <a:cubicBezTo>
                    <a:pt x="362" y="295"/>
                    <a:pt x="365" y="305"/>
                    <a:pt x="370" y="310"/>
                  </a:cubicBezTo>
                  <a:cubicBezTo>
                    <a:pt x="376" y="318"/>
                    <a:pt x="385" y="322"/>
                    <a:pt x="398" y="322"/>
                  </a:cubicBezTo>
                  <a:cubicBezTo>
                    <a:pt x="422" y="322"/>
                    <a:pt x="436" y="314"/>
                    <a:pt x="436" y="295"/>
                  </a:cubicBezTo>
                  <a:cubicBezTo>
                    <a:pt x="436" y="291"/>
                    <a:pt x="435" y="285"/>
                    <a:pt x="433" y="283"/>
                  </a:cubicBezTo>
                  <a:cubicBezTo>
                    <a:pt x="426" y="283"/>
                    <a:pt x="426" y="283"/>
                    <a:pt x="426" y="283"/>
                  </a:cubicBezTo>
                  <a:cubicBezTo>
                    <a:pt x="421" y="283"/>
                    <a:pt x="418" y="282"/>
                    <a:pt x="416" y="281"/>
                  </a:cubicBezTo>
                  <a:cubicBezTo>
                    <a:pt x="414" y="278"/>
                    <a:pt x="413" y="273"/>
                    <a:pt x="413" y="264"/>
                  </a:cubicBezTo>
                  <a:cubicBezTo>
                    <a:pt x="413" y="96"/>
                    <a:pt x="413" y="96"/>
                    <a:pt x="413" y="96"/>
                  </a:cubicBezTo>
                  <a:lnTo>
                    <a:pt x="385" y="96"/>
                  </a:lnTo>
                  <a:close/>
                  <a:moveTo>
                    <a:pt x="323" y="277"/>
                  </a:moveTo>
                  <a:cubicBezTo>
                    <a:pt x="315" y="277"/>
                    <a:pt x="309" y="274"/>
                    <a:pt x="303" y="269"/>
                  </a:cubicBezTo>
                  <a:cubicBezTo>
                    <a:pt x="288" y="253"/>
                    <a:pt x="287" y="219"/>
                    <a:pt x="287" y="206"/>
                  </a:cubicBezTo>
                  <a:cubicBezTo>
                    <a:pt x="287" y="175"/>
                    <a:pt x="293" y="137"/>
                    <a:pt x="323" y="137"/>
                  </a:cubicBezTo>
                  <a:cubicBezTo>
                    <a:pt x="332" y="137"/>
                    <a:pt x="339" y="139"/>
                    <a:pt x="345" y="145"/>
                  </a:cubicBezTo>
                  <a:cubicBezTo>
                    <a:pt x="357" y="158"/>
                    <a:pt x="358" y="185"/>
                    <a:pt x="358" y="206"/>
                  </a:cubicBezTo>
                  <a:cubicBezTo>
                    <a:pt x="358" y="213"/>
                    <a:pt x="358" y="213"/>
                    <a:pt x="358" y="213"/>
                  </a:cubicBezTo>
                  <a:cubicBezTo>
                    <a:pt x="357" y="241"/>
                    <a:pt x="350" y="277"/>
                    <a:pt x="323" y="2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6" name="Freeform 6"/>
            <p:cNvSpPr>
              <a:spLocks noSelect="1"/>
            </p:cNvSpPr>
            <p:nvPr/>
          </p:nvSpPr>
          <p:spPr bwMode="gray">
            <a:xfrm>
              <a:off x="636" y="4062"/>
              <a:ext cx="109" cy="97"/>
            </a:xfrm>
            <a:custGeom>
              <a:avLst/>
              <a:gdLst>
                <a:gd name="T0" fmla="*/ 89 w 291"/>
                <a:gd name="T1" fmla="*/ 200 h 259"/>
                <a:gd name="T2" fmla="*/ 290 w 291"/>
                <a:gd name="T3" fmla="*/ 241 h 259"/>
                <a:gd name="T4" fmla="*/ 201 w 291"/>
                <a:gd name="T5" fmla="*/ 59 h 259"/>
                <a:gd name="T6" fmla="*/ 1 w 291"/>
                <a:gd name="T7" fmla="*/ 18 h 259"/>
                <a:gd name="T8" fmla="*/ 89 w 291"/>
                <a:gd name="T9" fmla="*/ 200 h 259"/>
              </a:gdLst>
              <a:ahLst/>
              <a:cxnLst>
                <a:cxn ang="0">
                  <a:pos x="T0" y="T1"/>
                </a:cxn>
                <a:cxn ang="0">
                  <a:pos x="T2" y="T3"/>
                </a:cxn>
                <a:cxn ang="0">
                  <a:pos x="T4" y="T5"/>
                </a:cxn>
                <a:cxn ang="0">
                  <a:pos x="T6" y="T7"/>
                </a:cxn>
                <a:cxn ang="0">
                  <a:pos x="T8" y="T9"/>
                </a:cxn>
              </a:cxnLst>
              <a:rect l="0" t="0" r="r" b="b"/>
              <a:pathLst>
                <a:path w="291" h="259">
                  <a:moveTo>
                    <a:pt x="89" y="200"/>
                  </a:moveTo>
                  <a:cubicBezTo>
                    <a:pt x="148" y="246"/>
                    <a:pt x="222" y="259"/>
                    <a:pt x="290" y="241"/>
                  </a:cubicBezTo>
                  <a:cubicBezTo>
                    <a:pt x="291" y="172"/>
                    <a:pt x="260" y="104"/>
                    <a:pt x="201" y="59"/>
                  </a:cubicBezTo>
                  <a:cubicBezTo>
                    <a:pt x="142" y="13"/>
                    <a:pt x="68" y="0"/>
                    <a:pt x="1" y="18"/>
                  </a:cubicBezTo>
                  <a:cubicBezTo>
                    <a:pt x="0" y="87"/>
                    <a:pt x="30" y="155"/>
                    <a:pt x="89" y="20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7" name="Freeform 7"/>
            <p:cNvSpPr>
              <a:spLocks noSelect="1"/>
            </p:cNvSpPr>
            <p:nvPr/>
          </p:nvSpPr>
          <p:spPr bwMode="gray">
            <a:xfrm>
              <a:off x="713" y="3938"/>
              <a:ext cx="49" cy="82"/>
            </a:xfrm>
            <a:custGeom>
              <a:avLst/>
              <a:gdLst>
                <a:gd name="T0" fmla="*/ 10 w 130"/>
                <a:gd name="T1" fmla="*/ 97 h 218"/>
                <a:gd name="T2" fmla="*/ 40 w 130"/>
                <a:gd name="T3" fmla="*/ 218 h 218"/>
                <a:gd name="T4" fmla="*/ 120 w 130"/>
                <a:gd name="T5" fmla="*/ 121 h 218"/>
                <a:gd name="T6" fmla="*/ 89 w 130"/>
                <a:gd name="T7" fmla="*/ 0 h 218"/>
                <a:gd name="T8" fmla="*/ 10 w 130"/>
                <a:gd name="T9" fmla="*/ 97 h 218"/>
              </a:gdLst>
              <a:ahLst/>
              <a:cxnLst>
                <a:cxn ang="0">
                  <a:pos x="T0" y="T1"/>
                </a:cxn>
                <a:cxn ang="0">
                  <a:pos x="T2" y="T3"/>
                </a:cxn>
                <a:cxn ang="0">
                  <a:pos x="T4" y="T5"/>
                </a:cxn>
                <a:cxn ang="0">
                  <a:pos x="T6" y="T7"/>
                </a:cxn>
                <a:cxn ang="0">
                  <a:pos x="T8" y="T9"/>
                </a:cxn>
              </a:cxnLst>
              <a:rect l="0" t="0" r="r" b="b"/>
              <a:pathLst>
                <a:path w="130" h="218">
                  <a:moveTo>
                    <a:pt x="10" y="97"/>
                  </a:moveTo>
                  <a:cubicBezTo>
                    <a:pt x="0" y="142"/>
                    <a:pt x="12" y="186"/>
                    <a:pt x="40" y="218"/>
                  </a:cubicBezTo>
                  <a:cubicBezTo>
                    <a:pt x="79" y="201"/>
                    <a:pt x="110" y="166"/>
                    <a:pt x="120" y="121"/>
                  </a:cubicBezTo>
                  <a:cubicBezTo>
                    <a:pt x="130" y="77"/>
                    <a:pt x="117" y="32"/>
                    <a:pt x="89" y="0"/>
                  </a:cubicBezTo>
                  <a:cubicBezTo>
                    <a:pt x="50" y="18"/>
                    <a:pt x="20" y="52"/>
                    <a:pt x="10" y="9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8" name="Freeform 8"/>
            <p:cNvSpPr>
              <a:spLocks noSelect="1"/>
            </p:cNvSpPr>
            <p:nvPr/>
          </p:nvSpPr>
          <p:spPr bwMode="gray">
            <a:xfrm>
              <a:off x="737" y="3996"/>
              <a:ext cx="72" cy="110"/>
            </a:xfrm>
            <a:custGeom>
              <a:avLst/>
              <a:gdLst>
                <a:gd name="T0" fmla="*/ 22 w 190"/>
                <a:gd name="T1" fmla="*/ 120 h 292"/>
                <a:gd name="T2" fmla="*/ 42 w 190"/>
                <a:gd name="T3" fmla="*/ 292 h 292"/>
                <a:gd name="T4" fmla="*/ 168 w 190"/>
                <a:gd name="T5" fmla="*/ 172 h 292"/>
                <a:gd name="T6" fmla="*/ 148 w 190"/>
                <a:gd name="T7" fmla="*/ 0 h 292"/>
                <a:gd name="T8" fmla="*/ 22 w 190"/>
                <a:gd name="T9" fmla="*/ 120 h 292"/>
              </a:gdLst>
              <a:ahLst/>
              <a:cxnLst>
                <a:cxn ang="0">
                  <a:pos x="T0" y="T1"/>
                </a:cxn>
                <a:cxn ang="0">
                  <a:pos x="T2" y="T3"/>
                </a:cxn>
                <a:cxn ang="0">
                  <a:pos x="T4" y="T5"/>
                </a:cxn>
                <a:cxn ang="0">
                  <a:pos x="T6" y="T7"/>
                </a:cxn>
                <a:cxn ang="0">
                  <a:pos x="T8" y="T9"/>
                </a:cxn>
              </a:cxnLst>
              <a:rect l="0" t="0" r="r" b="b"/>
              <a:pathLst>
                <a:path w="190" h="292">
                  <a:moveTo>
                    <a:pt x="22" y="120"/>
                  </a:moveTo>
                  <a:cubicBezTo>
                    <a:pt x="0" y="180"/>
                    <a:pt x="10" y="243"/>
                    <a:pt x="42" y="292"/>
                  </a:cubicBezTo>
                  <a:cubicBezTo>
                    <a:pt x="99" y="275"/>
                    <a:pt x="147" y="232"/>
                    <a:pt x="168" y="172"/>
                  </a:cubicBezTo>
                  <a:cubicBezTo>
                    <a:pt x="190" y="113"/>
                    <a:pt x="180" y="50"/>
                    <a:pt x="148" y="0"/>
                  </a:cubicBezTo>
                  <a:cubicBezTo>
                    <a:pt x="91" y="18"/>
                    <a:pt x="44" y="61"/>
                    <a:pt x="22"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9" name="Freeform 9"/>
            <p:cNvSpPr>
              <a:spLocks noSelect="1"/>
            </p:cNvSpPr>
            <p:nvPr/>
          </p:nvSpPr>
          <p:spPr bwMode="gray">
            <a:xfrm>
              <a:off x="634" y="3982"/>
              <a:ext cx="74" cy="71"/>
            </a:xfrm>
            <a:custGeom>
              <a:avLst/>
              <a:gdLst>
                <a:gd name="T0" fmla="*/ 54 w 196"/>
                <a:gd name="T1" fmla="*/ 139 h 188"/>
                <a:gd name="T2" fmla="*/ 191 w 196"/>
                <a:gd name="T3" fmla="*/ 180 h 188"/>
                <a:gd name="T4" fmla="*/ 142 w 196"/>
                <a:gd name="T5" fmla="*/ 48 h 188"/>
                <a:gd name="T6" fmla="*/ 5 w 196"/>
                <a:gd name="T7" fmla="*/ 8 h 188"/>
                <a:gd name="T8" fmla="*/ 54 w 196"/>
                <a:gd name="T9" fmla="*/ 139 h 188"/>
              </a:gdLst>
              <a:ahLst/>
              <a:cxnLst>
                <a:cxn ang="0">
                  <a:pos x="T0" y="T1"/>
                </a:cxn>
                <a:cxn ang="0">
                  <a:pos x="T2" y="T3"/>
                </a:cxn>
                <a:cxn ang="0">
                  <a:pos x="T4" y="T5"/>
                </a:cxn>
                <a:cxn ang="0">
                  <a:pos x="T6" y="T7"/>
                </a:cxn>
                <a:cxn ang="0">
                  <a:pos x="T8" y="T9"/>
                </a:cxn>
              </a:cxnLst>
              <a:rect l="0" t="0" r="r" b="b"/>
              <a:pathLst>
                <a:path w="196" h="188">
                  <a:moveTo>
                    <a:pt x="54" y="139"/>
                  </a:moveTo>
                  <a:cubicBezTo>
                    <a:pt x="93" y="174"/>
                    <a:pt x="143" y="188"/>
                    <a:pt x="191" y="180"/>
                  </a:cubicBezTo>
                  <a:cubicBezTo>
                    <a:pt x="196" y="132"/>
                    <a:pt x="180" y="83"/>
                    <a:pt x="142" y="48"/>
                  </a:cubicBezTo>
                  <a:cubicBezTo>
                    <a:pt x="103" y="13"/>
                    <a:pt x="53" y="0"/>
                    <a:pt x="5" y="8"/>
                  </a:cubicBezTo>
                  <a:cubicBezTo>
                    <a:pt x="0" y="55"/>
                    <a:pt x="16" y="104"/>
                    <a:pt x="54" y="1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grpSp>
      <p:sp>
        <p:nvSpPr>
          <p:cNvPr id="20" name="Streep (PHJU)"/>
          <p:cNvSpPr>
            <a:spLocks noGrp="1" noSelect="1"/>
          </p:cNvSpPr>
          <p:nvPr>
            <p:ph type="body" idx="1003" hasCustomPrompt="1"/>
          </p:nvPr>
        </p:nvSpPr>
        <p:spPr bwMode="gray">
          <a:xfrm>
            <a:off x="604520" y="2233449"/>
            <a:ext cx="1209040" cy="52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Tree>
    <p:extLst>
      <p:ext uri="{BB962C8B-B14F-4D97-AF65-F5344CB8AC3E}">
        <p14:creationId xmlns:p14="http://schemas.microsoft.com/office/powerpoint/2010/main" val="40175297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and content (ivory)">
    <p:bg>
      <p:bgPr>
        <a:solidFill>
          <a:schemeClr val="accent5"/>
        </a:solidFill>
        <a:effectLst/>
      </p:bgPr>
    </p:bg>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invGray"/>
        <p:txBody>
          <a:bodyPr/>
          <a:lstStyle>
            <a:lvl1pPr>
              <a:defRPr>
                <a:solidFill>
                  <a:schemeClr val="bg1"/>
                </a:solidFill>
              </a:defRPr>
            </a:lvl1pPr>
          </a:lstStyle>
          <a:p>
            <a:r>
              <a:rPr lang="en-GB" noProof="1"/>
              <a:t>[Title]</a:t>
            </a:r>
          </a:p>
        </p:txBody>
      </p:sp>
      <p:sp>
        <p:nvSpPr>
          <p:cNvPr id="3" name="***Tijdelijke aanduiding voor inhoud 2"/>
          <p:cNvSpPr>
            <a:spLocks noGrp="1" noSelect="1"/>
          </p:cNvSpPr>
          <p:nvPr>
            <p:ph idx="1" hasCustomPrompt="1"/>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1"/>
              <a:t>[Type text or click on icon to insert an object]</a:t>
            </a:r>
          </a:p>
        </p:txBody>
      </p:sp>
      <p:sp>
        <p:nvSpPr>
          <p:cNvPr id="7" name="***Tijdelijke aanduiding voor voettekst 6"/>
          <p:cNvSpPr>
            <a:spLocks noGrp="1" noSelect="1"/>
          </p:cNvSpPr>
          <p:nvPr>
            <p:ph type="ftr" sz="quarter" idx="10"/>
          </p:nvPr>
        </p:nvSpPr>
        <p:spPr bwMode="invGray"/>
        <p:txBody>
          <a:bodyPr/>
          <a:lstStyle>
            <a:lvl1pPr>
              <a:defRPr>
                <a:solidFill>
                  <a:schemeClr val="bg1"/>
                </a:solidFill>
              </a:defRPr>
            </a:lvl1pPr>
          </a:lstStyle>
          <a:p>
            <a:endParaRPr lang="en-US"/>
          </a:p>
        </p:txBody>
      </p:sp>
      <p:sp>
        <p:nvSpPr>
          <p:cNvPr id="8" name="***Tijdelijke aanduiding voor dianummer 7"/>
          <p:cNvSpPr>
            <a:spLocks noGrp="1" noSelect="1"/>
          </p:cNvSpPr>
          <p:nvPr>
            <p:ph type="sldNum" sz="quarter" idx="11"/>
          </p:nvPr>
        </p:nvSpPr>
        <p:spPr bwMode="invGray"/>
        <p:txBody>
          <a:bodyPr/>
          <a:lstStyle>
            <a:lvl1pPr>
              <a:defRPr>
                <a:solidFill>
                  <a:schemeClr val="bg1"/>
                </a:solidFill>
              </a:defRPr>
            </a:lvl1pPr>
          </a:lstStyle>
          <a:p>
            <a:fld id="{ADECF1AC-24A7-42A4-9FAC-3CE63B9FFA68}" type="slidenum">
              <a:rPr lang="en-US" smtClean="0"/>
              <a:t>‹#›</a:t>
            </a:fld>
            <a:endParaRPr lang="en-US"/>
          </a:p>
        </p:txBody>
      </p:sp>
      <p:grpSp>
        <p:nvGrpSpPr>
          <p:cNvPr id="14" name="Group 4"/>
          <p:cNvGrpSpPr>
            <a:grpSpLocks noSelect="1" noChangeAspect="1"/>
          </p:cNvGrpSpPr>
          <p:nvPr/>
        </p:nvGrpSpPr>
        <p:grpSpPr bwMode="gray">
          <a:xfrm>
            <a:off x="636480" y="9472321"/>
            <a:ext cx="1211760" cy="388307"/>
            <a:chOff x="634" y="3938"/>
            <a:chExt cx="1190" cy="221"/>
          </a:xfrm>
          <a:solidFill>
            <a:schemeClr val="bg1"/>
          </a:solidFill>
        </p:grpSpPr>
        <p:sp>
          <p:nvSpPr>
            <p:cNvPr id="15" name="Freeform 5"/>
            <p:cNvSpPr>
              <a:spLocks noSelect="1"/>
            </p:cNvSpPr>
            <p:nvPr/>
          </p:nvSpPr>
          <p:spPr bwMode="gray">
            <a:xfrm>
              <a:off x="845" y="3995"/>
              <a:ext cx="979" cy="122"/>
            </a:xfrm>
            <a:custGeom>
              <a:avLst/>
              <a:gdLst>
                <a:gd name="T0" fmla="*/ 1067 w 2611"/>
                <a:gd name="T1" fmla="*/ 265 h 324"/>
                <a:gd name="T2" fmla="*/ 936 w 2611"/>
                <a:gd name="T3" fmla="*/ 297 h 324"/>
                <a:gd name="T4" fmla="*/ 1080 w 2611"/>
                <a:gd name="T5" fmla="*/ 166 h 324"/>
                <a:gd name="T6" fmla="*/ 1029 w 2611"/>
                <a:gd name="T7" fmla="*/ 165 h 324"/>
                <a:gd name="T8" fmla="*/ 994 w 2611"/>
                <a:gd name="T9" fmla="*/ 198 h 324"/>
                <a:gd name="T10" fmla="*/ 2292 w 2611"/>
                <a:gd name="T11" fmla="*/ 265 h 324"/>
                <a:gd name="T12" fmla="*/ 2161 w 2611"/>
                <a:gd name="T13" fmla="*/ 297 h 324"/>
                <a:gd name="T14" fmla="*/ 2305 w 2611"/>
                <a:gd name="T15" fmla="*/ 166 h 324"/>
                <a:gd name="T16" fmla="*/ 2254 w 2611"/>
                <a:gd name="T17" fmla="*/ 165 h 324"/>
                <a:gd name="T18" fmla="*/ 2219 w 2611"/>
                <a:gd name="T19" fmla="*/ 198 h 324"/>
                <a:gd name="T20" fmla="*/ 2598 w 2611"/>
                <a:gd name="T21" fmla="*/ 265 h 324"/>
                <a:gd name="T22" fmla="*/ 2466 w 2611"/>
                <a:gd name="T23" fmla="*/ 297 h 324"/>
                <a:gd name="T24" fmla="*/ 2611 w 2611"/>
                <a:gd name="T25" fmla="*/ 166 h 324"/>
                <a:gd name="T26" fmla="*/ 2560 w 2611"/>
                <a:gd name="T27" fmla="*/ 165 h 324"/>
                <a:gd name="T28" fmla="*/ 2525 w 2611"/>
                <a:gd name="T29" fmla="*/ 198 h 324"/>
                <a:gd name="T30" fmla="*/ 1611 w 2611"/>
                <a:gd name="T31" fmla="*/ 208 h 324"/>
                <a:gd name="T32" fmla="*/ 1516 w 2611"/>
                <a:gd name="T33" fmla="*/ 136 h 324"/>
                <a:gd name="T34" fmla="*/ 1640 w 2611"/>
                <a:gd name="T35" fmla="*/ 208 h 324"/>
                <a:gd name="T36" fmla="*/ 1735 w 2611"/>
                <a:gd name="T37" fmla="*/ 279 h 324"/>
                <a:gd name="T38" fmla="*/ 1735 w 2611"/>
                <a:gd name="T39" fmla="*/ 279 h 324"/>
                <a:gd name="T40" fmla="*/ 119 w 2611"/>
                <a:gd name="T41" fmla="*/ 247 h 324"/>
                <a:gd name="T42" fmla="*/ 0 w 2611"/>
                <a:gd name="T43" fmla="*/ 13 h 324"/>
                <a:gd name="T44" fmla="*/ 151 w 2611"/>
                <a:gd name="T45" fmla="*/ 312 h 324"/>
                <a:gd name="T46" fmla="*/ 840 w 2611"/>
                <a:gd name="T47" fmla="*/ 1 h 324"/>
                <a:gd name="T48" fmla="*/ 766 w 2611"/>
                <a:gd name="T49" fmla="*/ 91 h 324"/>
                <a:gd name="T50" fmla="*/ 760 w 2611"/>
                <a:gd name="T51" fmla="*/ 323 h 324"/>
                <a:gd name="T52" fmla="*/ 888 w 2611"/>
                <a:gd name="T53" fmla="*/ 295 h 324"/>
                <a:gd name="T54" fmla="*/ 864 w 2611"/>
                <a:gd name="T55" fmla="*/ 264 h 324"/>
                <a:gd name="T56" fmla="*/ 738 w 2611"/>
                <a:gd name="T57" fmla="*/ 206 h 324"/>
                <a:gd name="T58" fmla="*/ 810 w 2611"/>
                <a:gd name="T59" fmla="*/ 213 h 324"/>
                <a:gd name="T60" fmla="*/ 642 w 2611"/>
                <a:gd name="T61" fmla="*/ 281 h 324"/>
                <a:gd name="T62" fmla="*/ 523 w 2611"/>
                <a:gd name="T63" fmla="*/ 115 h 324"/>
                <a:gd name="T64" fmla="*/ 470 w 2611"/>
                <a:gd name="T65" fmla="*/ 150 h 324"/>
                <a:gd name="T66" fmla="*/ 525 w 2611"/>
                <a:gd name="T67" fmla="*/ 316 h 324"/>
                <a:gd name="T68" fmla="*/ 557 w 2611"/>
                <a:gd name="T69" fmla="*/ 138 h 324"/>
                <a:gd name="T70" fmla="*/ 624 w 2611"/>
                <a:gd name="T71" fmla="*/ 322 h 324"/>
                <a:gd name="T72" fmla="*/ 1394 w 2611"/>
                <a:gd name="T73" fmla="*/ 283 h 324"/>
                <a:gd name="T74" fmla="*/ 1315 w 2611"/>
                <a:gd name="T75" fmla="*/ 94 h 324"/>
                <a:gd name="T76" fmla="*/ 1166 w 2611"/>
                <a:gd name="T77" fmla="*/ 117 h 324"/>
                <a:gd name="T78" fmla="*/ 1113 w 2611"/>
                <a:gd name="T79" fmla="*/ 299 h 324"/>
                <a:gd name="T80" fmla="*/ 1195 w 2611"/>
                <a:gd name="T81" fmla="*/ 140 h 324"/>
                <a:gd name="T82" fmla="*/ 1245 w 2611"/>
                <a:gd name="T83" fmla="*/ 322 h 324"/>
                <a:gd name="T84" fmla="*/ 1318 w 2611"/>
                <a:gd name="T85" fmla="*/ 147 h 324"/>
                <a:gd name="T86" fmla="*/ 1367 w 2611"/>
                <a:gd name="T87" fmla="*/ 322 h 324"/>
                <a:gd name="T88" fmla="*/ 1889 w 2611"/>
                <a:gd name="T89" fmla="*/ 322 h 324"/>
                <a:gd name="T90" fmla="*/ 1971 w 2611"/>
                <a:gd name="T91" fmla="*/ 146 h 324"/>
                <a:gd name="T92" fmla="*/ 1915 w 2611"/>
                <a:gd name="T93" fmla="*/ 110 h 324"/>
                <a:gd name="T94" fmla="*/ 1864 w 2611"/>
                <a:gd name="T95" fmla="*/ 299 h 324"/>
                <a:gd name="T96" fmla="*/ 2079 w 2611"/>
                <a:gd name="T97" fmla="*/ 277 h 324"/>
                <a:gd name="T98" fmla="*/ 2112 w 2611"/>
                <a:gd name="T99" fmla="*/ 114 h 324"/>
                <a:gd name="T100" fmla="*/ 2038 w 2611"/>
                <a:gd name="T101" fmla="*/ 46 h 324"/>
                <a:gd name="T102" fmla="*/ 2064 w 2611"/>
                <a:gd name="T103" fmla="*/ 323 h 324"/>
                <a:gd name="T104" fmla="*/ 2379 w 2611"/>
                <a:gd name="T105" fmla="*/ 323 h 324"/>
                <a:gd name="T106" fmla="*/ 2397 w 2611"/>
                <a:gd name="T107" fmla="*/ 281 h 324"/>
                <a:gd name="T108" fmla="*/ 2369 w 2611"/>
                <a:gd name="T109" fmla="*/ 1 h 324"/>
                <a:gd name="T110" fmla="*/ 385 w 2611"/>
                <a:gd name="T111" fmla="*/ 96 h 324"/>
                <a:gd name="T112" fmla="*/ 232 w 2611"/>
                <a:gd name="T113" fmla="*/ 202 h 324"/>
                <a:gd name="T114" fmla="*/ 370 w 2611"/>
                <a:gd name="T115" fmla="*/ 310 h 324"/>
                <a:gd name="T116" fmla="*/ 426 w 2611"/>
                <a:gd name="T117" fmla="*/ 283 h 324"/>
                <a:gd name="T118" fmla="*/ 385 w 2611"/>
                <a:gd name="T119" fmla="*/ 96 h 324"/>
                <a:gd name="T120" fmla="*/ 323 w 2611"/>
                <a:gd name="T121" fmla="*/ 137 h 324"/>
                <a:gd name="T122" fmla="*/ 323 w 2611"/>
                <a:gd name="T123" fmla="*/ 277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11" h="324">
                  <a:moveTo>
                    <a:pt x="961" y="232"/>
                  </a:moveTo>
                  <a:cubicBezTo>
                    <a:pt x="966" y="262"/>
                    <a:pt x="982" y="279"/>
                    <a:pt x="1010" y="279"/>
                  </a:cubicBezTo>
                  <a:cubicBezTo>
                    <a:pt x="1026" y="279"/>
                    <a:pt x="1042" y="274"/>
                    <a:pt x="1054" y="270"/>
                  </a:cubicBezTo>
                  <a:cubicBezTo>
                    <a:pt x="1060" y="268"/>
                    <a:pt x="1067" y="265"/>
                    <a:pt x="1067" y="265"/>
                  </a:cubicBezTo>
                  <a:cubicBezTo>
                    <a:pt x="1067" y="265"/>
                    <a:pt x="1074" y="274"/>
                    <a:pt x="1074" y="282"/>
                  </a:cubicBezTo>
                  <a:cubicBezTo>
                    <a:pt x="1075" y="292"/>
                    <a:pt x="1073" y="300"/>
                    <a:pt x="1064" y="307"/>
                  </a:cubicBezTo>
                  <a:cubicBezTo>
                    <a:pt x="1051" y="318"/>
                    <a:pt x="1028" y="324"/>
                    <a:pt x="1005" y="324"/>
                  </a:cubicBezTo>
                  <a:cubicBezTo>
                    <a:pt x="975" y="324"/>
                    <a:pt x="952" y="315"/>
                    <a:pt x="936" y="297"/>
                  </a:cubicBezTo>
                  <a:cubicBezTo>
                    <a:pt x="916" y="276"/>
                    <a:pt x="907" y="244"/>
                    <a:pt x="907" y="201"/>
                  </a:cubicBezTo>
                  <a:cubicBezTo>
                    <a:pt x="909" y="130"/>
                    <a:pt x="940" y="91"/>
                    <a:pt x="995" y="91"/>
                  </a:cubicBezTo>
                  <a:cubicBezTo>
                    <a:pt x="1025" y="91"/>
                    <a:pt x="1049" y="98"/>
                    <a:pt x="1064" y="114"/>
                  </a:cubicBezTo>
                  <a:cubicBezTo>
                    <a:pt x="1076" y="127"/>
                    <a:pt x="1080" y="145"/>
                    <a:pt x="1080" y="166"/>
                  </a:cubicBezTo>
                  <a:cubicBezTo>
                    <a:pt x="1078" y="210"/>
                    <a:pt x="1045" y="234"/>
                    <a:pt x="997" y="234"/>
                  </a:cubicBezTo>
                  <a:cubicBezTo>
                    <a:pt x="985" y="234"/>
                    <a:pt x="974" y="233"/>
                    <a:pt x="961" y="232"/>
                  </a:cubicBezTo>
                  <a:moveTo>
                    <a:pt x="994" y="198"/>
                  </a:moveTo>
                  <a:cubicBezTo>
                    <a:pt x="1018" y="198"/>
                    <a:pt x="1029" y="187"/>
                    <a:pt x="1029" y="165"/>
                  </a:cubicBezTo>
                  <a:cubicBezTo>
                    <a:pt x="1030" y="154"/>
                    <a:pt x="1027" y="144"/>
                    <a:pt x="1022" y="139"/>
                  </a:cubicBezTo>
                  <a:cubicBezTo>
                    <a:pt x="1017" y="133"/>
                    <a:pt x="1010" y="130"/>
                    <a:pt x="1000" y="130"/>
                  </a:cubicBezTo>
                  <a:cubicBezTo>
                    <a:pt x="974" y="130"/>
                    <a:pt x="962" y="153"/>
                    <a:pt x="961" y="197"/>
                  </a:cubicBezTo>
                  <a:cubicBezTo>
                    <a:pt x="975" y="198"/>
                    <a:pt x="982" y="198"/>
                    <a:pt x="994" y="198"/>
                  </a:cubicBezTo>
                  <a:moveTo>
                    <a:pt x="2186" y="232"/>
                  </a:moveTo>
                  <a:cubicBezTo>
                    <a:pt x="2191" y="262"/>
                    <a:pt x="2207" y="279"/>
                    <a:pt x="2235" y="279"/>
                  </a:cubicBezTo>
                  <a:cubicBezTo>
                    <a:pt x="2251" y="279"/>
                    <a:pt x="2267" y="274"/>
                    <a:pt x="2279" y="270"/>
                  </a:cubicBezTo>
                  <a:cubicBezTo>
                    <a:pt x="2285" y="268"/>
                    <a:pt x="2292" y="265"/>
                    <a:pt x="2292" y="265"/>
                  </a:cubicBezTo>
                  <a:cubicBezTo>
                    <a:pt x="2292" y="265"/>
                    <a:pt x="2299" y="274"/>
                    <a:pt x="2299" y="282"/>
                  </a:cubicBezTo>
                  <a:cubicBezTo>
                    <a:pt x="2300" y="292"/>
                    <a:pt x="2298" y="300"/>
                    <a:pt x="2289" y="307"/>
                  </a:cubicBezTo>
                  <a:cubicBezTo>
                    <a:pt x="2276" y="318"/>
                    <a:pt x="2253" y="324"/>
                    <a:pt x="2229" y="324"/>
                  </a:cubicBezTo>
                  <a:cubicBezTo>
                    <a:pt x="2200" y="324"/>
                    <a:pt x="2177" y="315"/>
                    <a:pt x="2161" y="297"/>
                  </a:cubicBezTo>
                  <a:cubicBezTo>
                    <a:pt x="2141" y="276"/>
                    <a:pt x="2131" y="244"/>
                    <a:pt x="2132" y="201"/>
                  </a:cubicBezTo>
                  <a:cubicBezTo>
                    <a:pt x="2134" y="130"/>
                    <a:pt x="2165" y="91"/>
                    <a:pt x="2220" y="91"/>
                  </a:cubicBezTo>
                  <a:cubicBezTo>
                    <a:pt x="2250" y="91"/>
                    <a:pt x="2274" y="98"/>
                    <a:pt x="2289" y="114"/>
                  </a:cubicBezTo>
                  <a:cubicBezTo>
                    <a:pt x="2301" y="127"/>
                    <a:pt x="2305" y="145"/>
                    <a:pt x="2305" y="166"/>
                  </a:cubicBezTo>
                  <a:cubicBezTo>
                    <a:pt x="2303" y="210"/>
                    <a:pt x="2270" y="234"/>
                    <a:pt x="2222" y="234"/>
                  </a:cubicBezTo>
                  <a:cubicBezTo>
                    <a:pt x="2210" y="234"/>
                    <a:pt x="2199" y="233"/>
                    <a:pt x="2186" y="232"/>
                  </a:cubicBezTo>
                  <a:moveTo>
                    <a:pt x="2219" y="198"/>
                  </a:moveTo>
                  <a:cubicBezTo>
                    <a:pt x="2243" y="198"/>
                    <a:pt x="2254" y="187"/>
                    <a:pt x="2254" y="165"/>
                  </a:cubicBezTo>
                  <a:cubicBezTo>
                    <a:pt x="2255" y="154"/>
                    <a:pt x="2252" y="144"/>
                    <a:pt x="2247" y="139"/>
                  </a:cubicBezTo>
                  <a:cubicBezTo>
                    <a:pt x="2242" y="133"/>
                    <a:pt x="2235" y="130"/>
                    <a:pt x="2225" y="130"/>
                  </a:cubicBezTo>
                  <a:cubicBezTo>
                    <a:pt x="2199" y="130"/>
                    <a:pt x="2187" y="153"/>
                    <a:pt x="2186" y="197"/>
                  </a:cubicBezTo>
                  <a:cubicBezTo>
                    <a:pt x="2200" y="198"/>
                    <a:pt x="2207" y="198"/>
                    <a:pt x="2219" y="198"/>
                  </a:cubicBezTo>
                  <a:moveTo>
                    <a:pt x="2492" y="232"/>
                  </a:moveTo>
                  <a:cubicBezTo>
                    <a:pt x="2497" y="262"/>
                    <a:pt x="2513" y="279"/>
                    <a:pt x="2541" y="279"/>
                  </a:cubicBezTo>
                  <a:cubicBezTo>
                    <a:pt x="2557" y="279"/>
                    <a:pt x="2573" y="274"/>
                    <a:pt x="2585" y="270"/>
                  </a:cubicBezTo>
                  <a:cubicBezTo>
                    <a:pt x="2591" y="268"/>
                    <a:pt x="2598" y="265"/>
                    <a:pt x="2598" y="265"/>
                  </a:cubicBezTo>
                  <a:cubicBezTo>
                    <a:pt x="2598" y="265"/>
                    <a:pt x="2605" y="274"/>
                    <a:pt x="2605" y="282"/>
                  </a:cubicBezTo>
                  <a:cubicBezTo>
                    <a:pt x="2606" y="292"/>
                    <a:pt x="2604" y="300"/>
                    <a:pt x="2594" y="307"/>
                  </a:cubicBezTo>
                  <a:cubicBezTo>
                    <a:pt x="2582" y="318"/>
                    <a:pt x="2559" y="324"/>
                    <a:pt x="2535" y="324"/>
                  </a:cubicBezTo>
                  <a:cubicBezTo>
                    <a:pt x="2506" y="324"/>
                    <a:pt x="2483" y="315"/>
                    <a:pt x="2466" y="297"/>
                  </a:cubicBezTo>
                  <a:cubicBezTo>
                    <a:pt x="2447" y="276"/>
                    <a:pt x="2437" y="244"/>
                    <a:pt x="2438" y="201"/>
                  </a:cubicBezTo>
                  <a:cubicBezTo>
                    <a:pt x="2439" y="130"/>
                    <a:pt x="2471" y="91"/>
                    <a:pt x="2526" y="91"/>
                  </a:cubicBezTo>
                  <a:cubicBezTo>
                    <a:pt x="2556" y="91"/>
                    <a:pt x="2580" y="98"/>
                    <a:pt x="2594" y="114"/>
                  </a:cubicBezTo>
                  <a:cubicBezTo>
                    <a:pt x="2607" y="127"/>
                    <a:pt x="2611" y="145"/>
                    <a:pt x="2611" y="166"/>
                  </a:cubicBezTo>
                  <a:cubicBezTo>
                    <a:pt x="2609" y="210"/>
                    <a:pt x="2576" y="234"/>
                    <a:pt x="2528" y="234"/>
                  </a:cubicBezTo>
                  <a:cubicBezTo>
                    <a:pt x="2516" y="234"/>
                    <a:pt x="2505" y="233"/>
                    <a:pt x="2492" y="232"/>
                  </a:cubicBezTo>
                  <a:moveTo>
                    <a:pt x="2525" y="198"/>
                  </a:moveTo>
                  <a:cubicBezTo>
                    <a:pt x="2549" y="198"/>
                    <a:pt x="2560" y="187"/>
                    <a:pt x="2560" y="165"/>
                  </a:cubicBezTo>
                  <a:cubicBezTo>
                    <a:pt x="2560" y="154"/>
                    <a:pt x="2558" y="144"/>
                    <a:pt x="2553" y="139"/>
                  </a:cubicBezTo>
                  <a:cubicBezTo>
                    <a:pt x="2548" y="133"/>
                    <a:pt x="2540" y="130"/>
                    <a:pt x="2531" y="130"/>
                  </a:cubicBezTo>
                  <a:cubicBezTo>
                    <a:pt x="2505" y="130"/>
                    <a:pt x="2493" y="153"/>
                    <a:pt x="2492" y="197"/>
                  </a:cubicBezTo>
                  <a:cubicBezTo>
                    <a:pt x="2506" y="198"/>
                    <a:pt x="2512" y="198"/>
                    <a:pt x="2525" y="198"/>
                  </a:cubicBezTo>
                  <a:moveTo>
                    <a:pt x="1516" y="91"/>
                  </a:moveTo>
                  <a:cubicBezTo>
                    <a:pt x="1481" y="91"/>
                    <a:pt x="1422" y="106"/>
                    <a:pt x="1422" y="208"/>
                  </a:cubicBezTo>
                  <a:cubicBezTo>
                    <a:pt x="1422" y="309"/>
                    <a:pt x="1481" y="324"/>
                    <a:pt x="1516" y="324"/>
                  </a:cubicBezTo>
                  <a:cubicBezTo>
                    <a:pt x="1552" y="324"/>
                    <a:pt x="1611" y="309"/>
                    <a:pt x="1611" y="208"/>
                  </a:cubicBezTo>
                  <a:cubicBezTo>
                    <a:pt x="1611" y="106"/>
                    <a:pt x="1552" y="91"/>
                    <a:pt x="1516" y="91"/>
                  </a:cubicBezTo>
                  <a:moveTo>
                    <a:pt x="1516" y="279"/>
                  </a:moveTo>
                  <a:cubicBezTo>
                    <a:pt x="1486" y="279"/>
                    <a:pt x="1478" y="239"/>
                    <a:pt x="1478" y="208"/>
                  </a:cubicBezTo>
                  <a:cubicBezTo>
                    <a:pt x="1478" y="177"/>
                    <a:pt x="1486" y="136"/>
                    <a:pt x="1516" y="136"/>
                  </a:cubicBezTo>
                  <a:cubicBezTo>
                    <a:pt x="1547" y="136"/>
                    <a:pt x="1554" y="177"/>
                    <a:pt x="1554" y="208"/>
                  </a:cubicBezTo>
                  <a:cubicBezTo>
                    <a:pt x="1554" y="239"/>
                    <a:pt x="1547" y="279"/>
                    <a:pt x="1516" y="279"/>
                  </a:cubicBezTo>
                  <a:moveTo>
                    <a:pt x="1735" y="91"/>
                  </a:moveTo>
                  <a:cubicBezTo>
                    <a:pt x="1699" y="91"/>
                    <a:pt x="1640" y="106"/>
                    <a:pt x="1640" y="208"/>
                  </a:cubicBezTo>
                  <a:cubicBezTo>
                    <a:pt x="1640" y="309"/>
                    <a:pt x="1699" y="324"/>
                    <a:pt x="1735" y="324"/>
                  </a:cubicBezTo>
                  <a:cubicBezTo>
                    <a:pt x="1770" y="324"/>
                    <a:pt x="1829" y="309"/>
                    <a:pt x="1829" y="208"/>
                  </a:cubicBezTo>
                  <a:cubicBezTo>
                    <a:pt x="1829" y="106"/>
                    <a:pt x="1770" y="91"/>
                    <a:pt x="1735" y="91"/>
                  </a:cubicBezTo>
                  <a:moveTo>
                    <a:pt x="1735" y="279"/>
                  </a:moveTo>
                  <a:cubicBezTo>
                    <a:pt x="1704" y="279"/>
                    <a:pt x="1697" y="239"/>
                    <a:pt x="1697" y="208"/>
                  </a:cubicBezTo>
                  <a:cubicBezTo>
                    <a:pt x="1697" y="177"/>
                    <a:pt x="1704" y="136"/>
                    <a:pt x="1735" y="136"/>
                  </a:cubicBezTo>
                  <a:cubicBezTo>
                    <a:pt x="1766" y="136"/>
                    <a:pt x="1772" y="177"/>
                    <a:pt x="1772" y="208"/>
                  </a:cubicBezTo>
                  <a:cubicBezTo>
                    <a:pt x="1772" y="239"/>
                    <a:pt x="1766" y="279"/>
                    <a:pt x="1735" y="279"/>
                  </a:cubicBezTo>
                  <a:moveTo>
                    <a:pt x="205" y="0"/>
                  </a:moveTo>
                  <a:cubicBezTo>
                    <a:pt x="187" y="0"/>
                    <a:pt x="175" y="4"/>
                    <a:pt x="175" y="4"/>
                  </a:cubicBezTo>
                  <a:cubicBezTo>
                    <a:pt x="137" y="160"/>
                    <a:pt x="137" y="160"/>
                    <a:pt x="137" y="160"/>
                  </a:cubicBezTo>
                  <a:cubicBezTo>
                    <a:pt x="133" y="176"/>
                    <a:pt x="123" y="222"/>
                    <a:pt x="119" y="247"/>
                  </a:cubicBezTo>
                  <a:cubicBezTo>
                    <a:pt x="115" y="221"/>
                    <a:pt x="106" y="177"/>
                    <a:pt x="101" y="160"/>
                  </a:cubicBezTo>
                  <a:cubicBezTo>
                    <a:pt x="69" y="25"/>
                    <a:pt x="69" y="25"/>
                    <a:pt x="69" y="25"/>
                  </a:cubicBezTo>
                  <a:cubicBezTo>
                    <a:pt x="65" y="9"/>
                    <a:pt x="55" y="1"/>
                    <a:pt x="39" y="1"/>
                  </a:cubicBezTo>
                  <a:cubicBezTo>
                    <a:pt x="18" y="1"/>
                    <a:pt x="4" y="10"/>
                    <a:pt x="0" y="13"/>
                  </a:cubicBezTo>
                  <a:cubicBezTo>
                    <a:pt x="4" y="19"/>
                    <a:pt x="8" y="25"/>
                    <a:pt x="13" y="42"/>
                  </a:cubicBezTo>
                  <a:cubicBezTo>
                    <a:pt x="79" y="292"/>
                    <a:pt x="79" y="292"/>
                    <a:pt x="79" y="292"/>
                  </a:cubicBezTo>
                  <a:cubicBezTo>
                    <a:pt x="84" y="312"/>
                    <a:pt x="92" y="321"/>
                    <a:pt x="106" y="321"/>
                  </a:cubicBezTo>
                  <a:cubicBezTo>
                    <a:pt x="120" y="321"/>
                    <a:pt x="134" y="321"/>
                    <a:pt x="151" y="312"/>
                  </a:cubicBezTo>
                  <a:cubicBezTo>
                    <a:pt x="226" y="29"/>
                    <a:pt x="226" y="29"/>
                    <a:pt x="226" y="29"/>
                  </a:cubicBezTo>
                  <a:cubicBezTo>
                    <a:pt x="232" y="9"/>
                    <a:pt x="220" y="0"/>
                    <a:pt x="205" y="0"/>
                  </a:cubicBezTo>
                  <a:moveTo>
                    <a:pt x="864" y="24"/>
                  </a:moveTo>
                  <a:cubicBezTo>
                    <a:pt x="864" y="7"/>
                    <a:pt x="854" y="1"/>
                    <a:pt x="840" y="1"/>
                  </a:cubicBezTo>
                  <a:cubicBezTo>
                    <a:pt x="828" y="1"/>
                    <a:pt x="813" y="3"/>
                    <a:pt x="807" y="6"/>
                  </a:cubicBezTo>
                  <a:cubicBezTo>
                    <a:pt x="811" y="13"/>
                    <a:pt x="812" y="25"/>
                    <a:pt x="812" y="35"/>
                  </a:cubicBezTo>
                  <a:cubicBezTo>
                    <a:pt x="812" y="112"/>
                    <a:pt x="812" y="112"/>
                    <a:pt x="812" y="112"/>
                  </a:cubicBezTo>
                  <a:cubicBezTo>
                    <a:pt x="799" y="99"/>
                    <a:pt x="785" y="91"/>
                    <a:pt x="766" y="91"/>
                  </a:cubicBezTo>
                  <a:cubicBezTo>
                    <a:pt x="744" y="91"/>
                    <a:pt x="726" y="98"/>
                    <a:pt x="713" y="113"/>
                  </a:cubicBezTo>
                  <a:cubicBezTo>
                    <a:pt x="689" y="138"/>
                    <a:pt x="684" y="180"/>
                    <a:pt x="684" y="202"/>
                  </a:cubicBezTo>
                  <a:cubicBezTo>
                    <a:pt x="684" y="246"/>
                    <a:pt x="693" y="282"/>
                    <a:pt x="713" y="303"/>
                  </a:cubicBezTo>
                  <a:cubicBezTo>
                    <a:pt x="725" y="316"/>
                    <a:pt x="742" y="323"/>
                    <a:pt x="760" y="323"/>
                  </a:cubicBezTo>
                  <a:cubicBezTo>
                    <a:pt x="784" y="323"/>
                    <a:pt x="802" y="312"/>
                    <a:pt x="813" y="295"/>
                  </a:cubicBezTo>
                  <a:cubicBezTo>
                    <a:pt x="813" y="295"/>
                    <a:pt x="817" y="305"/>
                    <a:pt x="821" y="310"/>
                  </a:cubicBezTo>
                  <a:cubicBezTo>
                    <a:pt x="828" y="318"/>
                    <a:pt x="836" y="322"/>
                    <a:pt x="850" y="322"/>
                  </a:cubicBezTo>
                  <a:cubicBezTo>
                    <a:pt x="874" y="322"/>
                    <a:pt x="887" y="314"/>
                    <a:pt x="888" y="295"/>
                  </a:cubicBezTo>
                  <a:cubicBezTo>
                    <a:pt x="888" y="291"/>
                    <a:pt x="886" y="285"/>
                    <a:pt x="885" y="283"/>
                  </a:cubicBezTo>
                  <a:cubicBezTo>
                    <a:pt x="878" y="283"/>
                    <a:pt x="878" y="283"/>
                    <a:pt x="878" y="283"/>
                  </a:cubicBezTo>
                  <a:cubicBezTo>
                    <a:pt x="873" y="283"/>
                    <a:pt x="870" y="282"/>
                    <a:pt x="868" y="281"/>
                  </a:cubicBezTo>
                  <a:cubicBezTo>
                    <a:pt x="865" y="278"/>
                    <a:pt x="864" y="273"/>
                    <a:pt x="864" y="264"/>
                  </a:cubicBezTo>
                  <a:lnTo>
                    <a:pt x="864" y="24"/>
                  </a:lnTo>
                  <a:close/>
                  <a:moveTo>
                    <a:pt x="774" y="277"/>
                  </a:moveTo>
                  <a:cubicBezTo>
                    <a:pt x="766" y="277"/>
                    <a:pt x="760" y="274"/>
                    <a:pt x="755" y="269"/>
                  </a:cubicBezTo>
                  <a:cubicBezTo>
                    <a:pt x="740" y="253"/>
                    <a:pt x="738" y="219"/>
                    <a:pt x="738" y="206"/>
                  </a:cubicBezTo>
                  <a:cubicBezTo>
                    <a:pt x="738" y="175"/>
                    <a:pt x="745" y="137"/>
                    <a:pt x="775" y="137"/>
                  </a:cubicBezTo>
                  <a:cubicBezTo>
                    <a:pt x="784" y="137"/>
                    <a:pt x="791" y="140"/>
                    <a:pt x="796" y="145"/>
                  </a:cubicBezTo>
                  <a:cubicBezTo>
                    <a:pt x="808" y="158"/>
                    <a:pt x="810" y="185"/>
                    <a:pt x="810" y="206"/>
                  </a:cubicBezTo>
                  <a:cubicBezTo>
                    <a:pt x="810" y="213"/>
                    <a:pt x="810" y="213"/>
                    <a:pt x="810" y="213"/>
                  </a:cubicBezTo>
                  <a:cubicBezTo>
                    <a:pt x="809" y="242"/>
                    <a:pt x="802" y="277"/>
                    <a:pt x="774" y="277"/>
                  </a:cubicBezTo>
                  <a:moveTo>
                    <a:pt x="659" y="283"/>
                  </a:moveTo>
                  <a:cubicBezTo>
                    <a:pt x="652" y="283"/>
                    <a:pt x="652" y="283"/>
                    <a:pt x="652" y="283"/>
                  </a:cubicBezTo>
                  <a:cubicBezTo>
                    <a:pt x="647" y="283"/>
                    <a:pt x="644" y="282"/>
                    <a:pt x="642" y="281"/>
                  </a:cubicBezTo>
                  <a:cubicBezTo>
                    <a:pt x="640" y="278"/>
                    <a:pt x="639" y="273"/>
                    <a:pt x="639" y="264"/>
                  </a:cubicBezTo>
                  <a:cubicBezTo>
                    <a:pt x="639" y="189"/>
                    <a:pt x="639" y="189"/>
                    <a:pt x="639" y="189"/>
                  </a:cubicBezTo>
                  <a:cubicBezTo>
                    <a:pt x="639" y="144"/>
                    <a:pt x="631" y="92"/>
                    <a:pt x="575" y="92"/>
                  </a:cubicBezTo>
                  <a:cubicBezTo>
                    <a:pt x="554" y="92"/>
                    <a:pt x="536" y="100"/>
                    <a:pt x="523" y="115"/>
                  </a:cubicBezTo>
                  <a:cubicBezTo>
                    <a:pt x="522" y="100"/>
                    <a:pt x="512" y="94"/>
                    <a:pt x="499" y="94"/>
                  </a:cubicBezTo>
                  <a:cubicBezTo>
                    <a:pt x="486" y="94"/>
                    <a:pt x="472" y="97"/>
                    <a:pt x="466" y="100"/>
                  </a:cubicBezTo>
                  <a:cubicBezTo>
                    <a:pt x="469" y="106"/>
                    <a:pt x="470" y="118"/>
                    <a:pt x="470" y="129"/>
                  </a:cubicBezTo>
                  <a:cubicBezTo>
                    <a:pt x="470" y="150"/>
                    <a:pt x="470" y="150"/>
                    <a:pt x="470" y="150"/>
                  </a:cubicBezTo>
                  <a:cubicBezTo>
                    <a:pt x="470" y="150"/>
                    <a:pt x="470" y="150"/>
                    <a:pt x="470" y="150"/>
                  </a:cubicBezTo>
                  <a:cubicBezTo>
                    <a:pt x="470" y="299"/>
                    <a:pt x="470" y="299"/>
                    <a:pt x="470" y="299"/>
                  </a:cubicBezTo>
                  <a:cubicBezTo>
                    <a:pt x="470" y="316"/>
                    <a:pt x="480" y="321"/>
                    <a:pt x="495" y="321"/>
                  </a:cubicBezTo>
                  <a:cubicBezTo>
                    <a:pt x="507" y="321"/>
                    <a:pt x="519" y="319"/>
                    <a:pt x="525" y="316"/>
                  </a:cubicBezTo>
                  <a:cubicBezTo>
                    <a:pt x="525" y="275"/>
                    <a:pt x="525" y="275"/>
                    <a:pt x="525" y="275"/>
                  </a:cubicBezTo>
                  <a:cubicBezTo>
                    <a:pt x="525" y="275"/>
                    <a:pt x="525" y="275"/>
                    <a:pt x="525" y="275"/>
                  </a:cubicBezTo>
                  <a:cubicBezTo>
                    <a:pt x="525" y="166"/>
                    <a:pt x="525" y="166"/>
                    <a:pt x="525" y="166"/>
                  </a:cubicBezTo>
                  <a:cubicBezTo>
                    <a:pt x="532" y="147"/>
                    <a:pt x="542" y="138"/>
                    <a:pt x="557" y="138"/>
                  </a:cubicBezTo>
                  <a:cubicBezTo>
                    <a:pt x="574" y="138"/>
                    <a:pt x="583" y="152"/>
                    <a:pt x="584" y="177"/>
                  </a:cubicBezTo>
                  <a:cubicBezTo>
                    <a:pt x="584" y="270"/>
                    <a:pt x="584" y="270"/>
                    <a:pt x="584" y="270"/>
                  </a:cubicBezTo>
                  <a:cubicBezTo>
                    <a:pt x="584" y="288"/>
                    <a:pt x="588" y="302"/>
                    <a:pt x="594" y="310"/>
                  </a:cubicBezTo>
                  <a:cubicBezTo>
                    <a:pt x="601" y="318"/>
                    <a:pt x="611" y="322"/>
                    <a:pt x="624" y="322"/>
                  </a:cubicBezTo>
                  <a:cubicBezTo>
                    <a:pt x="648" y="322"/>
                    <a:pt x="662" y="314"/>
                    <a:pt x="662" y="295"/>
                  </a:cubicBezTo>
                  <a:cubicBezTo>
                    <a:pt x="662" y="291"/>
                    <a:pt x="660" y="285"/>
                    <a:pt x="659" y="283"/>
                  </a:cubicBezTo>
                  <a:moveTo>
                    <a:pt x="1402" y="283"/>
                  </a:moveTo>
                  <a:cubicBezTo>
                    <a:pt x="1394" y="283"/>
                    <a:pt x="1394" y="283"/>
                    <a:pt x="1394" y="283"/>
                  </a:cubicBezTo>
                  <a:cubicBezTo>
                    <a:pt x="1389" y="283"/>
                    <a:pt x="1387" y="282"/>
                    <a:pt x="1385" y="281"/>
                  </a:cubicBezTo>
                  <a:cubicBezTo>
                    <a:pt x="1382" y="278"/>
                    <a:pt x="1381" y="273"/>
                    <a:pt x="1381" y="264"/>
                  </a:cubicBezTo>
                  <a:cubicBezTo>
                    <a:pt x="1381" y="183"/>
                    <a:pt x="1381" y="183"/>
                    <a:pt x="1381" y="183"/>
                  </a:cubicBezTo>
                  <a:cubicBezTo>
                    <a:pt x="1381" y="142"/>
                    <a:pt x="1374" y="94"/>
                    <a:pt x="1315" y="94"/>
                  </a:cubicBezTo>
                  <a:cubicBezTo>
                    <a:pt x="1296" y="94"/>
                    <a:pt x="1275" y="102"/>
                    <a:pt x="1261" y="118"/>
                  </a:cubicBezTo>
                  <a:cubicBezTo>
                    <a:pt x="1251" y="102"/>
                    <a:pt x="1236" y="94"/>
                    <a:pt x="1216" y="94"/>
                  </a:cubicBezTo>
                  <a:cubicBezTo>
                    <a:pt x="1198" y="94"/>
                    <a:pt x="1181" y="102"/>
                    <a:pt x="1166" y="118"/>
                  </a:cubicBezTo>
                  <a:cubicBezTo>
                    <a:pt x="1166" y="117"/>
                    <a:pt x="1166" y="117"/>
                    <a:pt x="1166" y="117"/>
                  </a:cubicBezTo>
                  <a:cubicBezTo>
                    <a:pt x="1166" y="100"/>
                    <a:pt x="1156" y="94"/>
                    <a:pt x="1142" y="94"/>
                  </a:cubicBezTo>
                  <a:cubicBezTo>
                    <a:pt x="1130" y="94"/>
                    <a:pt x="1115" y="97"/>
                    <a:pt x="1109" y="100"/>
                  </a:cubicBezTo>
                  <a:cubicBezTo>
                    <a:pt x="1112" y="106"/>
                    <a:pt x="1113" y="115"/>
                    <a:pt x="1113" y="125"/>
                  </a:cubicBezTo>
                  <a:cubicBezTo>
                    <a:pt x="1113" y="299"/>
                    <a:pt x="1113" y="299"/>
                    <a:pt x="1113" y="299"/>
                  </a:cubicBezTo>
                  <a:cubicBezTo>
                    <a:pt x="1113" y="316"/>
                    <a:pt x="1124" y="322"/>
                    <a:pt x="1138" y="322"/>
                  </a:cubicBezTo>
                  <a:cubicBezTo>
                    <a:pt x="1150" y="322"/>
                    <a:pt x="1162" y="319"/>
                    <a:pt x="1168" y="316"/>
                  </a:cubicBezTo>
                  <a:cubicBezTo>
                    <a:pt x="1168" y="168"/>
                    <a:pt x="1168" y="168"/>
                    <a:pt x="1168" y="168"/>
                  </a:cubicBezTo>
                  <a:cubicBezTo>
                    <a:pt x="1171" y="156"/>
                    <a:pt x="1179" y="140"/>
                    <a:pt x="1195" y="140"/>
                  </a:cubicBezTo>
                  <a:cubicBezTo>
                    <a:pt x="1202" y="140"/>
                    <a:pt x="1207" y="142"/>
                    <a:pt x="1211" y="147"/>
                  </a:cubicBezTo>
                  <a:cubicBezTo>
                    <a:pt x="1217" y="153"/>
                    <a:pt x="1220" y="164"/>
                    <a:pt x="1220" y="179"/>
                  </a:cubicBezTo>
                  <a:cubicBezTo>
                    <a:pt x="1220" y="299"/>
                    <a:pt x="1220" y="299"/>
                    <a:pt x="1220" y="299"/>
                  </a:cubicBezTo>
                  <a:cubicBezTo>
                    <a:pt x="1220" y="316"/>
                    <a:pt x="1230" y="322"/>
                    <a:pt x="1245" y="322"/>
                  </a:cubicBezTo>
                  <a:cubicBezTo>
                    <a:pt x="1257" y="322"/>
                    <a:pt x="1269" y="319"/>
                    <a:pt x="1275" y="316"/>
                  </a:cubicBezTo>
                  <a:cubicBezTo>
                    <a:pt x="1275" y="168"/>
                    <a:pt x="1275" y="168"/>
                    <a:pt x="1275" y="168"/>
                  </a:cubicBezTo>
                  <a:cubicBezTo>
                    <a:pt x="1278" y="156"/>
                    <a:pt x="1287" y="140"/>
                    <a:pt x="1303" y="140"/>
                  </a:cubicBezTo>
                  <a:cubicBezTo>
                    <a:pt x="1309" y="140"/>
                    <a:pt x="1314" y="142"/>
                    <a:pt x="1318" y="147"/>
                  </a:cubicBezTo>
                  <a:cubicBezTo>
                    <a:pt x="1324" y="153"/>
                    <a:pt x="1327" y="164"/>
                    <a:pt x="1327" y="179"/>
                  </a:cubicBezTo>
                  <a:cubicBezTo>
                    <a:pt x="1327" y="270"/>
                    <a:pt x="1327" y="270"/>
                    <a:pt x="1327" y="270"/>
                  </a:cubicBezTo>
                  <a:cubicBezTo>
                    <a:pt x="1327" y="288"/>
                    <a:pt x="1330" y="302"/>
                    <a:pt x="1337" y="310"/>
                  </a:cubicBezTo>
                  <a:cubicBezTo>
                    <a:pt x="1344" y="318"/>
                    <a:pt x="1353" y="322"/>
                    <a:pt x="1367" y="322"/>
                  </a:cubicBezTo>
                  <a:cubicBezTo>
                    <a:pt x="1391" y="322"/>
                    <a:pt x="1404" y="314"/>
                    <a:pt x="1404" y="295"/>
                  </a:cubicBezTo>
                  <a:cubicBezTo>
                    <a:pt x="1404" y="291"/>
                    <a:pt x="1403" y="285"/>
                    <a:pt x="1402" y="283"/>
                  </a:cubicBezTo>
                  <a:moveTo>
                    <a:pt x="1864" y="299"/>
                  </a:moveTo>
                  <a:cubicBezTo>
                    <a:pt x="1864" y="316"/>
                    <a:pt x="1875" y="322"/>
                    <a:pt x="1889" y="322"/>
                  </a:cubicBezTo>
                  <a:cubicBezTo>
                    <a:pt x="1901" y="322"/>
                    <a:pt x="1913" y="319"/>
                    <a:pt x="1919" y="316"/>
                  </a:cubicBezTo>
                  <a:cubicBezTo>
                    <a:pt x="1919" y="184"/>
                    <a:pt x="1919" y="184"/>
                    <a:pt x="1919" y="184"/>
                  </a:cubicBezTo>
                  <a:cubicBezTo>
                    <a:pt x="1921" y="156"/>
                    <a:pt x="1933" y="142"/>
                    <a:pt x="1955" y="142"/>
                  </a:cubicBezTo>
                  <a:cubicBezTo>
                    <a:pt x="1962" y="142"/>
                    <a:pt x="1967" y="144"/>
                    <a:pt x="1971" y="146"/>
                  </a:cubicBezTo>
                  <a:cubicBezTo>
                    <a:pt x="1973" y="147"/>
                    <a:pt x="1977" y="148"/>
                    <a:pt x="1979" y="150"/>
                  </a:cubicBezTo>
                  <a:cubicBezTo>
                    <a:pt x="1979" y="150"/>
                    <a:pt x="1989" y="140"/>
                    <a:pt x="1989" y="125"/>
                  </a:cubicBezTo>
                  <a:cubicBezTo>
                    <a:pt x="1988" y="108"/>
                    <a:pt x="1977" y="91"/>
                    <a:pt x="1952" y="91"/>
                  </a:cubicBezTo>
                  <a:cubicBezTo>
                    <a:pt x="1938" y="91"/>
                    <a:pt x="1924" y="98"/>
                    <a:pt x="1915" y="110"/>
                  </a:cubicBezTo>
                  <a:cubicBezTo>
                    <a:pt x="1912" y="99"/>
                    <a:pt x="1904" y="94"/>
                    <a:pt x="1892" y="94"/>
                  </a:cubicBezTo>
                  <a:cubicBezTo>
                    <a:pt x="1880" y="94"/>
                    <a:pt x="1866" y="97"/>
                    <a:pt x="1860" y="100"/>
                  </a:cubicBezTo>
                  <a:cubicBezTo>
                    <a:pt x="1863" y="106"/>
                    <a:pt x="1864" y="118"/>
                    <a:pt x="1864" y="129"/>
                  </a:cubicBezTo>
                  <a:lnTo>
                    <a:pt x="1864" y="299"/>
                  </a:lnTo>
                  <a:close/>
                  <a:moveTo>
                    <a:pt x="2113" y="287"/>
                  </a:moveTo>
                  <a:cubicBezTo>
                    <a:pt x="2111" y="275"/>
                    <a:pt x="2105" y="270"/>
                    <a:pt x="2105" y="270"/>
                  </a:cubicBezTo>
                  <a:cubicBezTo>
                    <a:pt x="2103" y="270"/>
                    <a:pt x="2099" y="272"/>
                    <a:pt x="2096" y="273"/>
                  </a:cubicBezTo>
                  <a:cubicBezTo>
                    <a:pt x="2092" y="275"/>
                    <a:pt x="2085" y="277"/>
                    <a:pt x="2079" y="277"/>
                  </a:cubicBezTo>
                  <a:cubicBezTo>
                    <a:pt x="2068" y="277"/>
                    <a:pt x="2063" y="270"/>
                    <a:pt x="2063" y="252"/>
                  </a:cubicBezTo>
                  <a:cubicBezTo>
                    <a:pt x="2063" y="142"/>
                    <a:pt x="2063" y="142"/>
                    <a:pt x="2063" y="142"/>
                  </a:cubicBezTo>
                  <a:cubicBezTo>
                    <a:pt x="2091" y="142"/>
                    <a:pt x="2091" y="142"/>
                    <a:pt x="2091" y="142"/>
                  </a:cubicBezTo>
                  <a:cubicBezTo>
                    <a:pt x="2109" y="142"/>
                    <a:pt x="2112" y="125"/>
                    <a:pt x="2112" y="114"/>
                  </a:cubicBezTo>
                  <a:cubicBezTo>
                    <a:pt x="2112" y="107"/>
                    <a:pt x="2111" y="101"/>
                    <a:pt x="2106" y="97"/>
                  </a:cubicBezTo>
                  <a:cubicBezTo>
                    <a:pt x="2063" y="97"/>
                    <a:pt x="2063" y="97"/>
                    <a:pt x="2063" y="97"/>
                  </a:cubicBezTo>
                  <a:cubicBezTo>
                    <a:pt x="2063" y="69"/>
                    <a:pt x="2063" y="69"/>
                    <a:pt x="2063" y="69"/>
                  </a:cubicBezTo>
                  <a:cubicBezTo>
                    <a:pt x="2063" y="52"/>
                    <a:pt x="2053" y="46"/>
                    <a:pt x="2038" y="46"/>
                  </a:cubicBezTo>
                  <a:cubicBezTo>
                    <a:pt x="2025" y="46"/>
                    <a:pt x="2010" y="48"/>
                    <a:pt x="2004" y="51"/>
                  </a:cubicBezTo>
                  <a:cubicBezTo>
                    <a:pt x="2007" y="57"/>
                    <a:pt x="2008" y="66"/>
                    <a:pt x="2008" y="76"/>
                  </a:cubicBezTo>
                  <a:cubicBezTo>
                    <a:pt x="2008" y="256"/>
                    <a:pt x="2008" y="256"/>
                    <a:pt x="2008" y="256"/>
                  </a:cubicBezTo>
                  <a:cubicBezTo>
                    <a:pt x="2008" y="299"/>
                    <a:pt x="2030" y="323"/>
                    <a:pt x="2064" y="323"/>
                  </a:cubicBezTo>
                  <a:cubicBezTo>
                    <a:pt x="2100" y="323"/>
                    <a:pt x="2115" y="304"/>
                    <a:pt x="2113" y="287"/>
                  </a:cubicBezTo>
                  <a:moveTo>
                    <a:pt x="2339" y="270"/>
                  </a:moveTo>
                  <a:cubicBezTo>
                    <a:pt x="2339" y="289"/>
                    <a:pt x="2343" y="302"/>
                    <a:pt x="2350" y="311"/>
                  </a:cubicBezTo>
                  <a:cubicBezTo>
                    <a:pt x="2356" y="319"/>
                    <a:pt x="2366" y="323"/>
                    <a:pt x="2379" y="323"/>
                  </a:cubicBezTo>
                  <a:cubicBezTo>
                    <a:pt x="2404" y="323"/>
                    <a:pt x="2417" y="314"/>
                    <a:pt x="2417" y="295"/>
                  </a:cubicBezTo>
                  <a:cubicBezTo>
                    <a:pt x="2417" y="291"/>
                    <a:pt x="2416" y="285"/>
                    <a:pt x="2415" y="283"/>
                  </a:cubicBezTo>
                  <a:cubicBezTo>
                    <a:pt x="2407" y="283"/>
                    <a:pt x="2407" y="283"/>
                    <a:pt x="2407" y="283"/>
                  </a:cubicBezTo>
                  <a:cubicBezTo>
                    <a:pt x="2402" y="283"/>
                    <a:pt x="2399" y="283"/>
                    <a:pt x="2397" y="281"/>
                  </a:cubicBezTo>
                  <a:cubicBezTo>
                    <a:pt x="2395" y="279"/>
                    <a:pt x="2394" y="274"/>
                    <a:pt x="2394" y="264"/>
                  </a:cubicBezTo>
                  <a:cubicBezTo>
                    <a:pt x="2394" y="24"/>
                    <a:pt x="2394" y="24"/>
                    <a:pt x="2394" y="24"/>
                  </a:cubicBezTo>
                  <a:cubicBezTo>
                    <a:pt x="2394" y="21"/>
                    <a:pt x="2394" y="18"/>
                    <a:pt x="2393" y="16"/>
                  </a:cubicBezTo>
                  <a:cubicBezTo>
                    <a:pt x="2390" y="5"/>
                    <a:pt x="2381" y="1"/>
                    <a:pt x="2369" y="1"/>
                  </a:cubicBezTo>
                  <a:cubicBezTo>
                    <a:pt x="2356" y="1"/>
                    <a:pt x="2341" y="4"/>
                    <a:pt x="2335" y="7"/>
                  </a:cubicBezTo>
                  <a:cubicBezTo>
                    <a:pt x="2338" y="13"/>
                    <a:pt x="2339" y="25"/>
                    <a:pt x="2339" y="36"/>
                  </a:cubicBezTo>
                  <a:lnTo>
                    <a:pt x="2339" y="270"/>
                  </a:lnTo>
                  <a:close/>
                  <a:moveTo>
                    <a:pt x="385" y="96"/>
                  </a:moveTo>
                  <a:cubicBezTo>
                    <a:pt x="373" y="96"/>
                    <a:pt x="364" y="101"/>
                    <a:pt x="362" y="115"/>
                  </a:cubicBezTo>
                  <a:cubicBezTo>
                    <a:pt x="353" y="102"/>
                    <a:pt x="336" y="91"/>
                    <a:pt x="315" y="91"/>
                  </a:cubicBezTo>
                  <a:cubicBezTo>
                    <a:pt x="293" y="91"/>
                    <a:pt x="275" y="98"/>
                    <a:pt x="261" y="113"/>
                  </a:cubicBezTo>
                  <a:cubicBezTo>
                    <a:pt x="237" y="138"/>
                    <a:pt x="232" y="180"/>
                    <a:pt x="232" y="202"/>
                  </a:cubicBezTo>
                  <a:cubicBezTo>
                    <a:pt x="232" y="245"/>
                    <a:pt x="241" y="281"/>
                    <a:pt x="262" y="303"/>
                  </a:cubicBezTo>
                  <a:cubicBezTo>
                    <a:pt x="274" y="316"/>
                    <a:pt x="290" y="323"/>
                    <a:pt x="309" y="323"/>
                  </a:cubicBezTo>
                  <a:cubicBezTo>
                    <a:pt x="332" y="323"/>
                    <a:pt x="351" y="313"/>
                    <a:pt x="362" y="295"/>
                  </a:cubicBezTo>
                  <a:cubicBezTo>
                    <a:pt x="362" y="295"/>
                    <a:pt x="365" y="305"/>
                    <a:pt x="370" y="310"/>
                  </a:cubicBezTo>
                  <a:cubicBezTo>
                    <a:pt x="376" y="318"/>
                    <a:pt x="385" y="322"/>
                    <a:pt x="398" y="322"/>
                  </a:cubicBezTo>
                  <a:cubicBezTo>
                    <a:pt x="422" y="322"/>
                    <a:pt x="436" y="314"/>
                    <a:pt x="436" y="295"/>
                  </a:cubicBezTo>
                  <a:cubicBezTo>
                    <a:pt x="436" y="291"/>
                    <a:pt x="435" y="285"/>
                    <a:pt x="433" y="283"/>
                  </a:cubicBezTo>
                  <a:cubicBezTo>
                    <a:pt x="426" y="283"/>
                    <a:pt x="426" y="283"/>
                    <a:pt x="426" y="283"/>
                  </a:cubicBezTo>
                  <a:cubicBezTo>
                    <a:pt x="421" y="283"/>
                    <a:pt x="418" y="282"/>
                    <a:pt x="416" y="281"/>
                  </a:cubicBezTo>
                  <a:cubicBezTo>
                    <a:pt x="414" y="278"/>
                    <a:pt x="413" y="273"/>
                    <a:pt x="413" y="264"/>
                  </a:cubicBezTo>
                  <a:cubicBezTo>
                    <a:pt x="413" y="96"/>
                    <a:pt x="413" y="96"/>
                    <a:pt x="413" y="96"/>
                  </a:cubicBezTo>
                  <a:lnTo>
                    <a:pt x="385" y="96"/>
                  </a:lnTo>
                  <a:close/>
                  <a:moveTo>
                    <a:pt x="323" y="277"/>
                  </a:moveTo>
                  <a:cubicBezTo>
                    <a:pt x="315" y="277"/>
                    <a:pt x="309" y="274"/>
                    <a:pt x="303" y="269"/>
                  </a:cubicBezTo>
                  <a:cubicBezTo>
                    <a:pt x="288" y="253"/>
                    <a:pt x="287" y="219"/>
                    <a:pt x="287" y="206"/>
                  </a:cubicBezTo>
                  <a:cubicBezTo>
                    <a:pt x="287" y="175"/>
                    <a:pt x="293" y="137"/>
                    <a:pt x="323" y="137"/>
                  </a:cubicBezTo>
                  <a:cubicBezTo>
                    <a:pt x="332" y="137"/>
                    <a:pt x="339" y="139"/>
                    <a:pt x="345" y="145"/>
                  </a:cubicBezTo>
                  <a:cubicBezTo>
                    <a:pt x="357" y="158"/>
                    <a:pt x="358" y="185"/>
                    <a:pt x="358" y="206"/>
                  </a:cubicBezTo>
                  <a:cubicBezTo>
                    <a:pt x="358" y="213"/>
                    <a:pt x="358" y="213"/>
                    <a:pt x="358" y="213"/>
                  </a:cubicBezTo>
                  <a:cubicBezTo>
                    <a:pt x="357" y="241"/>
                    <a:pt x="350" y="277"/>
                    <a:pt x="323" y="2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6" name="Freeform 6"/>
            <p:cNvSpPr>
              <a:spLocks noSelect="1"/>
            </p:cNvSpPr>
            <p:nvPr/>
          </p:nvSpPr>
          <p:spPr bwMode="gray">
            <a:xfrm>
              <a:off x="636" y="4062"/>
              <a:ext cx="109" cy="97"/>
            </a:xfrm>
            <a:custGeom>
              <a:avLst/>
              <a:gdLst>
                <a:gd name="T0" fmla="*/ 89 w 291"/>
                <a:gd name="T1" fmla="*/ 200 h 259"/>
                <a:gd name="T2" fmla="*/ 290 w 291"/>
                <a:gd name="T3" fmla="*/ 241 h 259"/>
                <a:gd name="T4" fmla="*/ 201 w 291"/>
                <a:gd name="T5" fmla="*/ 59 h 259"/>
                <a:gd name="T6" fmla="*/ 1 w 291"/>
                <a:gd name="T7" fmla="*/ 18 h 259"/>
                <a:gd name="T8" fmla="*/ 89 w 291"/>
                <a:gd name="T9" fmla="*/ 200 h 259"/>
              </a:gdLst>
              <a:ahLst/>
              <a:cxnLst>
                <a:cxn ang="0">
                  <a:pos x="T0" y="T1"/>
                </a:cxn>
                <a:cxn ang="0">
                  <a:pos x="T2" y="T3"/>
                </a:cxn>
                <a:cxn ang="0">
                  <a:pos x="T4" y="T5"/>
                </a:cxn>
                <a:cxn ang="0">
                  <a:pos x="T6" y="T7"/>
                </a:cxn>
                <a:cxn ang="0">
                  <a:pos x="T8" y="T9"/>
                </a:cxn>
              </a:cxnLst>
              <a:rect l="0" t="0" r="r" b="b"/>
              <a:pathLst>
                <a:path w="291" h="259">
                  <a:moveTo>
                    <a:pt x="89" y="200"/>
                  </a:moveTo>
                  <a:cubicBezTo>
                    <a:pt x="148" y="246"/>
                    <a:pt x="222" y="259"/>
                    <a:pt x="290" y="241"/>
                  </a:cubicBezTo>
                  <a:cubicBezTo>
                    <a:pt x="291" y="172"/>
                    <a:pt x="260" y="104"/>
                    <a:pt x="201" y="59"/>
                  </a:cubicBezTo>
                  <a:cubicBezTo>
                    <a:pt x="142" y="13"/>
                    <a:pt x="68" y="0"/>
                    <a:pt x="1" y="18"/>
                  </a:cubicBezTo>
                  <a:cubicBezTo>
                    <a:pt x="0" y="87"/>
                    <a:pt x="30" y="155"/>
                    <a:pt x="89" y="20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7" name="Freeform 7"/>
            <p:cNvSpPr>
              <a:spLocks noSelect="1"/>
            </p:cNvSpPr>
            <p:nvPr/>
          </p:nvSpPr>
          <p:spPr bwMode="gray">
            <a:xfrm>
              <a:off x="713" y="3938"/>
              <a:ext cx="49" cy="82"/>
            </a:xfrm>
            <a:custGeom>
              <a:avLst/>
              <a:gdLst>
                <a:gd name="T0" fmla="*/ 10 w 130"/>
                <a:gd name="T1" fmla="*/ 97 h 218"/>
                <a:gd name="T2" fmla="*/ 40 w 130"/>
                <a:gd name="T3" fmla="*/ 218 h 218"/>
                <a:gd name="T4" fmla="*/ 120 w 130"/>
                <a:gd name="T5" fmla="*/ 121 h 218"/>
                <a:gd name="T6" fmla="*/ 89 w 130"/>
                <a:gd name="T7" fmla="*/ 0 h 218"/>
                <a:gd name="T8" fmla="*/ 10 w 130"/>
                <a:gd name="T9" fmla="*/ 97 h 218"/>
              </a:gdLst>
              <a:ahLst/>
              <a:cxnLst>
                <a:cxn ang="0">
                  <a:pos x="T0" y="T1"/>
                </a:cxn>
                <a:cxn ang="0">
                  <a:pos x="T2" y="T3"/>
                </a:cxn>
                <a:cxn ang="0">
                  <a:pos x="T4" y="T5"/>
                </a:cxn>
                <a:cxn ang="0">
                  <a:pos x="T6" y="T7"/>
                </a:cxn>
                <a:cxn ang="0">
                  <a:pos x="T8" y="T9"/>
                </a:cxn>
              </a:cxnLst>
              <a:rect l="0" t="0" r="r" b="b"/>
              <a:pathLst>
                <a:path w="130" h="218">
                  <a:moveTo>
                    <a:pt x="10" y="97"/>
                  </a:moveTo>
                  <a:cubicBezTo>
                    <a:pt x="0" y="142"/>
                    <a:pt x="12" y="186"/>
                    <a:pt x="40" y="218"/>
                  </a:cubicBezTo>
                  <a:cubicBezTo>
                    <a:pt x="79" y="201"/>
                    <a:pt x="110" y="166"/>
                    <a:pt x="120" y="121"/>
                  </a:cubicBezTo>
                  <a:cubicBezTo>
                    <a:pt x="130" y="77"/>
                    <a:pt x="117" y="32"/>
                    <a:pt x="89" y="0"/>
                  </a:cubicBezTo>
                  <a:cubicBezTo>
                    <a:pt x="50" y="18"/>
                    <a:pt x="20" y="52"/>
                    <a:pt x="10" y="9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8" name="Freeform 8"/>
            <p:cNvSpPr>
              <a:spLocks noSelect="1"/>
            </p:cNvSpPr>
            <p:nvPr/>
          </p:nvSpPr>
          <p:spPr bwMode="gray">
            <a:xfrm>
              <a:off x="737" y="3996"/>
              <a:ext cx="72" cy="110"/>
            </a:xfrm>
            <a:custGeom>
              <a:avLst/>
              <a:gdLst>
                <a:gd name="T0" fmla="*/ 22 w 190"/>
                <a:gd name="T1" fmla="*/ 120 h 292"/>
                <a:gd name="T2" fmla="*/ 42 w 190"/>
                <a:gd name="T3" fmla="*/ 292 h 292"/>
                <a:gd name="T4" fmla="*/ 168 w 190"/>
                <a:gd name="T5" fmla="*/ 172 h 292"/>
                <a:gd name="T6" fmla="*/ 148 w 190"/>
                <a:gd name="T7" fmla="*/ 0 h 292"/>
                <a:gd name="T8" fmla="*/ 22 w 190"/>
                <a:gd name="T9" fmla="*/ 120 h 292"/>
              </a:gdLst>
              <a:ahLst/>
              <a:cxnLst>
                <a:cxn ang="0">
                  <a:pos x="T0" y="T1"/>
                </a:cxn>
                <a:cxn ang="0">
                  <a:pos x="T2" y="T3"/>
                </a:cxn>
                <a:cxn ang="0">
                  <a:pos x="T4" y="T5"/>
                </a:cxn>
                <a:cxn ang="0">
                  <a:pos x="T6" y="T7"/>
                </a:cxn>
                <a:cxn ang="0">
                  <a:pos x="T8" y="T9"/>
                </a:cxn>
              </a:cxnLst>
              <a:rect l="0" t="0" r="r" b="b"/>
              <a:pathLst>
                <a:path w="190" h="292">
                  <a:moveTo>
                    <a:pt x="22" y="120"/>
                  </a:moveTo>
                  <a:cubicBezTo>
                    <a:pt x="0" y="180"/>
                    <a:pt x="10" y="243"/>
                    <a:pt x="42" y="292"/>
                  </a:cubicBezTo>
                  <a:cubicBezTo>
                    <a:pt x="99" y="275"/>
                    <a:pt x="147" y="232"/>
                    <a:pt x="168" y="172"/>
                  </a:cubicBezTo>
                  <a:cubicBezTo>
                    <a:pt x="190" y="113"/>
                    <a:pt x="180" y="50"/>
                    <a:pt x="148" y="0"/>
                  </a:cubicBezTo>
                  <a:cubicBezTo>
                    <a:pt x="91" y="18"/>
                    <a:pt x="44" y="61"/>
                    <a:pt x="22"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9" name="Freeform 9"/>
            <p:cNvSpPr>
              <a:spLocks noSelect="1"/>
            </p:cNvSpPr>
            <p:nvPr/>
          </p:nvSpPr>
          <p:spPr bwMode="gray">
            <a:xfrm>
              <a:off x="634" y="3982"/>
              <a:ext cx="74" cy="71"/>
            </a:xfrm>
            <a:custGeom>
              <a:avLst/>
              <a:gdLst>
                <a:gd name="T0" fmla="*/ 54 w 196"/>
                <a:gd name="T1" fmla="*/ 139 h 188"/>
                <a:gd name="T2" fmla="*/ 191 w 196"/>
                <a:gd name="T3" fmla="*/ 180 h 188"/>
                <a:gd name="T4" fmla="*/ 142 w 196"/>
                <a:gd name="T5" fmla="*/ 48 h 188"/>
                <a:gd name="T6" fmla="*/ 5 w 196"/>
                <a:gd name="T7" fmla="*/ 8 h 188"/>
                <a:gd name="T8" fmla="*/ 54 w 196"/>
                <a:gd name="T9" fmla="*/ 139 h 188"/>
              </a:gdLst>
              <a:ahLst/>
              <a:cxnLst>
                <a:cxn ang="0">
                  <a:pos x="T0" y="T1"/>
                </a:cxn>
                <a:cxn ang="0">
                  <a:pos x="T2" y="T3"/>
                </a:cxn>
                <a:cxn ang="0">
                  <a:pos x="T4" y="T5"/>
                </a:cxn>
                <a:cxn ang="0">
                  <a:pos x="T6" y="T7"/>
                </a:cxn>
                <a:cxn ang="0">
                  <a:pos x="T8" y="T9"/>
                </a:cxn>
              </a:cxnLst>
              <a:rect l="0" t="0" r="r" b="b"/>
              <a:pathLst>
                <a:path w="196" h="188">
                  <a:moveTo>
                    <a:pt x="54" y="139"/>
                  </a:moveTo>
                  <a:cubicBezTo>
                    <a:pt x="93" y="174"/>
                    <a:pt x="143" y="188"/>
                    <a:pt x="191" y="180"/>
                  </a:cubicBezTo>
                  <a:cubicBezTo>
                    <a:pt x="196" y="132"/>
                    <a:pt x="180" y="83"/>
                    <a:pt x="142" y="48"/>
                  </a:cubicBezTo>
                  <a:cubicBezTo>
                    <a:pt x="103" y="13"/>
                    <a:pt x="53" y="0"/>
                    <a:pt x="5" y="8"/>
                  </a:cubicBezTo>
                  <a:cubicBezTo>
                    <a:pt x="0" y="55"/>
                    <a:pt x="16" y="104"/>
                    <a:pt x="54" y="1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grpSp>
      <p:sp>
        <p:nvSpPr>
          <p:cNvPr id="20" name="Streep (PHJU)"/>
          <p:cNvSpPr>
            <a:spLocks noGrp="1" noSelect="1"/>
          </p:cNvSpPr>
          <p:nvPr>
            <p:ph type="body" idx="1003" hasCustomPrompt="1"/>
          </p:nvPr>
        </p:nvSpPr>
        <p:spPr bwMode="gray">
          <a:xfrm>
            <a:off x="604520" y="2233449"/>
            <a:ext cx="1209040" cy="52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Tree>
    <p:extLst>
      <p:ext uri="{BB962C8B-B14F-4D97-AF65-F5344CB8AC3E}">
        <p14:creationId xmlns:p14="http://schemas.microsoft.com/office/powerpoint/2010/main" val="3147222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and content (stone red)">
    <p:bg>
      <p:bgPr>
        <a:solidFill>
          <a:schemeClr val="accent1"/>
        </a:solidFill>
        <a:effectLst/>
      </p:bgPr>
    </p:bg>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invGray"/>
        <p:txBody>
          <a:bodyPr/>
          <a:lstStyle>
            <a:lvl1pPr>
              <a:defRPr>
                <a:solidFill>
                  <a:schemeClr val="bg1"/>
                </a:solidFill>
              </a:defRPr>
            </a:lvl1pPr>
          </a:lstStyle>
          <a:p>
            <a:r>
              <a:rPr lang="en-GB" noProof="1"/>
              <a:t>[Title]</a:t>
            </a:r>
          </a:p>
        </p:txBody>
      </p:sp>
      <p:sp>
        <p:nvSpPr>
          <p:cNvPr id="3" name="***Tijdelijke aanduiding voor inhoud 2"/>
          <p:cNvSpPr>
            <a:spLocks noGrp="1" noSelect="1"/>
          </p:cNvSpPr>
          <p:nvPr>
            <p:ph idx="1" hasCustomPrompt="1"/>
          </p:nvPr>
        </p:nvSpPr>
        <p:spPr bwMode="inv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1"/>
              <a:t>[Type text or click on icon to insert an object]</a:t>
            </a:r>
          </a:p>
        </p:txBody>
      </p:sp>
      <p:sp>
        <p:nvSpPr>
          <p:cNvPr id="7" name="***Tijdelijke aanduiding voor voettekst 6"/>
          <p:cNvSpPr>
            <a:spLocks noGrp="1" noSelect="1"/>
          </p:cNvSpPr>
          <p:nvPr>
            <p:ph type="ftr" sz="quarter" idx="10"/>
          </p:nvPr>
        </p:nvSpPr>
        <p:spPr bwMode="invGray"/>
        <p:txBody>
          <a:bodyPr/>
          <a:lstStyle>
            <a:lvl1pPr>
              <a:defRPr>
                <a:solidFill>
                  <a:schemeClr val="bg1"/>
                </a:solidFill>
              </a:defRPr>
            </a:lvl1pPr>
          </a:lstStyle>
          <a:p>
            <a:endParaRPr lang="en-US"/>
          </a:p>
        </p:txBody>
      </p:sp>
      <p:sp>
        <p:nvSpPr>
          <p:cNvPr id="8" name="***Tijdelijke aanduiding voor dianummer 7"/>
          <p:cNvSpPr>
            <a:spLocks noGrp="1" noSelect="1"/>
          </p:cNvSpPr>
          <p:nvPr>
            <p:ph type="sldNum" sz="quarter" idx="11"/>
          </p:nvPr>
        </p:nvSpPr>
        <p:spPr bwMode="invGray"/>
        <p:txBody>
          <a:bodyPr/>
          <a:lstStyle>
            <a:lvl1pPr>
              <a:defRPr>
                <a:solidFill>
                  <a:schemeClr val="bg1"/>
                </a:solidFill>
              </a:defRPr>
            </a:lvl1pPr>
          </a:lstStyle>
          <a:p>
            <a:fld id="{ADECF1AC-24A7-42A4-9FAC-3CE63B9FFA68}" type="slidenum">
              <a:rPr lang="en-US" smtClean="0"/>
              <a:t>‹#›</a:t>
            </a:fld>
            <a:endParaRPr lang="en-US"/>
          </a:p>
        </p:txBody>
      </p:sp>
      <p:grpSp>
        <p:nvGrpSpPr>
          <p:cNvPr id="14" name="Group 4"/>
          <p:cNvGrpSpPr>
            <a:grpSpLocks noSelect="1" noChangeAspect="1"/>
          </p:cNvGrpSpPr>
          <p:nvPr/>
        </p:nvGrpSpPr>
        <p:grpSpPr bwMode="gray">
          <a:xfrm>
            <a:off x="636480" y="9472321"/>
            <a:ext cx="1211760" cy="388307"/>
            <a:chOff x="634" y="3938"/>
            <a:chExt cx="1190" cy="221"/>
          </a:xfrm>
          <a:solidFill>
            <a:schemeClr val="bg1"/>
          </a:solidFill>
        </p:grpSpPr>
        <p:sp>
          <p:nvSpPr>
            <p:cNvPr id="15" name="Freeform 5"/>
            <p:cNvSpPr>
              <a:spLocks noSelect="1"/>
            </p:cNvSpPr>
            <p:nvPr/>
          </p:nvSpPr>
          <p:spPr bwMode="gray">
            <a:xfrm>
              <a:off x="845" y="3995"/>
              <a:ext cx="979" cy="122"/>
            </a:xfrm>
            <a:custGeom>
              <a:avLst/>
              <a:gdLst>
                <a:gd name="T0" fmla="*/ 1067 w 2611"/>
                <a:gd name="T1" fmla="*/ 265 h 324"/>
                <a:gd name="T2" fmla="*/ 936 w 2611"/>
                <a:gd name="T3" fmla="*/ 297 h 324"/>
                <a:gd name="T4" fmla="*/ 1080 w 2611"/>
                <a:gd name="T5" fmla="*/ 166 h 324"/>
                <a:gd name="T6" fmla="*/ 1029 w 2611"/>
                <a:gd name="T7" fmla="*/ 165 h 324"/>
                <a:gd name="T8" fmla="*/ 994 w 2611"/>
                <a:gd name="T9" fmla="*/ 198 h 324"/>
                <a:gd name="T10" fmla="*/ 2292 w 2611"/>
                <a:gd name="T11" fmla="*/ 265 h 324"/>
                <a:gd name="T12" fmla="*/ 2161 w 2611"/>
                <a:gd name="T13" fmla="*/ 297 h 324"/>
                <a:gd name="T14" fmla="*/ 2305 w 2611"/>
                <a:gd name="T15" fmla="*/ 166 h 324"/>
                <a:gd name="T16" fmla="*/ 2254 w 2611"/>
                <a:gd name="T17" fmla="*/ 165 h 324"/>
                <a:gd name="T18" fmla="*/ 2219 w 2611"/>
                <a:gd name="T19" fmla="*/ 198 h 324"/>
                <a:gd name="T20" fmla="*/ 2598 w 2611"/>
                <a:gd name="T21" fmla="*/ 265 h 324"/>
                <a:gd name="T22" fmla="*/ 2466 w 2611"/>
                <a:gd name="T23" fmla="*/ 297 h 324"/>
                <a:gd name="T24" fmla="*/ 2611 w 2611"/>
                <a:gd name="T25" fmla="*/ 166 h 324"/>
                <a:gd name="T26" fmla="*/ 2560 w 2611"/>
                <a:gd name="T27" fmla="*/ 165 h 324"/>
                <a:gd name="T28" fmla="*/ 2525 w 2611"/>
                <a:gd name="T29" fmla="*/ 198 h 324"/>
                <a:gd name="T30" fmla="*/ 1611 w 2611"/>
                <a:gd name="T31" fmla="*/ 208 h 324"/>
                <a:gd name="T32" fmla="*/ 1516 w 2611"/>
                <a:gd name="T33" fmla="*/ 136 h 324"/>
                <a:gd name="T34" fmla="*/ 1640 w 2611"/>
                <a:gd name="T35" fmla="*/ 208 h 324"/>
                <a:gd name="T36" fmla="*/ 1735 w 2611"/>
                <a:gd name="T37" fmla="*/ 279 h 324"/>
                <a:gd name="T38" fmla="*/ 1735 w 2611"/>
                <a:gd name="T39" fmla="*/ 279 h 324"/>
                <a:gd name="T40" fmla="*/ 119 w 2611"/>
                <a:gd name="T41" fmla="*/ 247 h 324"/>
                <a:gd name="T42" fmla="*/ 0 w 2611"/>
                <a:gd name="T43" fmla="*/ 13 h 324"/>
                <a:gd name="T44" fmla="*/ 151 w 2611"/>
                <a:gd name="T45" fmla="*/ 312 h 324"/>
                <a:gd name="T46" fmla="*/ 840 w 2611"/>
                <a:gd name="T47" fmla="*/ 1 h 324"/>
                <a:gd name="T48" fmla="*/ 766 w 2611"/>
                <a:gd name="T49" fmla="*/ 91 h 324"/>
                <a:gd name="T50" fmla="*/ 760 w 2611"/>
                <a:gd name="T51" fmla="*/ 323 h 324"/>
                <a:gd name="T52" fmla="*/ 888 w 2611"/>
                <a:gd name="T53" fmla="*/ 295 h 324"/>
                <a:gd name="T54" fmla="*/ 864 w 2611"/>
                <a:gd name="T55" fmla="*/ 264 h 324"/>
                <a:gd name="T56" fmla="*/ 738 w 2611"/>
                <a:gd name="T57" fmla="*/ 206 h 324"/>
                <a:gd name="T58" fmla="*/ 810 w 2611"/>
                <a:gd name="T59" fmla="*/ 213 h 324"/>
                <a:gd name="T60" fmla="*/ 642 w 2611"/>
                <a:gd name="T61" fmla="*/ 281 h 324"/>
                <a:gd name="T62" fmla="*/ 523 w 2611"/>
                <a:gd name="T63" fmla="*/ 115 h 324"/>
                <a:gd name="T64" fmla="*/ 470 w 2611"/>
                <a:gd name="T65" fmla="*/ 150 h 324"/>
                <a:gd name="T66" fmla="*/ 525 w 2611"/>
                <a:gd name="T67" fmla="*/ 316 h 324"/>
                <a:gd name="T68" fmla="*/ 557 w 2611"/>
                <a:gd name="T69" fmla="*/ 138 h 324"/>
                <a:gd name="T70" fmla="*/ 624 w 2611"/>
                <a:gd name="T71" fmla="*/ 322 h 324"/>
                <a:gd name="T72" fmla="*/ 1394 w 2611"/>
                <a:gd name="T73" fmla="*/ 283 h 324"/>
                <a:gd name="T74" fmla="*/ 1315 w 2611"/>
                <a:gd name="T75" fmla="*/ 94 h 324"/>
                <a:gd name="T76" fmla="*/ 1166 w 2611"/>
                <a:gd name="T77" fmla="*/ 117 h 324"/>
                <a:gd name="T78" fmla="*/ 1113 w 2611"/>
                <a:gd name="T79" fmla="*/ 299 h 324"/>
                <a:gd name="T80" fmla="*/ 1195 w 2611"/>
                <a:gd name="T81" fmla="*/ 140 h 324"/>
                <a:gd name="T82" fmla="*/ 1245 w 2611"/>
                <a:gd name="T83" fmla="*/ 322 h 324"/>
                <a:gd name="T84" fmla="*/ 1318 w 2611"/>
                <a:gd name="T85" fmla="*/ 147 h 324"/>
                <a:gd name="T86" fmla="*/ 1367 w 2611"/>
                <a:gd name="T87" fmla="*/ 322 h 324"/>
                <a:gd name="T88" fmla="*/ 1889 w 2611"/>
                <a:gd name="T89" fmla="*/ 322 h 324"/>
                <a:gd name="T90" fmla="*/ 1971 w 2611"/>
                <a:gd name="T91" fmla="*/ 146 h 324"/>
                <a:gd name="T92" fmla="*/ 1915 w 2611"/>
                <a:gd name="T93" fmla="*/ 110 h 324"/>
                <a:gd name="T94" fmla="*/ 1864 w 2611"/>
                <a:gd name="T95" fmla="*/ 299 h 324"/>
                <a:gd name="T96" fmla="*/ 2079 w 2611"/>
                <a:gd name="T97" fmla="*/ 277 h 324"/>
                <a:gd name="T98" fmla="*/ 2112 w 2611"/>
                <a:gd name="T99" fmla="*/ 114 h 324"/>
                <a:gd name="T100" fmla="*/ 2038 w 2611"/>
                <a:gd name="T101" fmla="*/ 46 h 324"/>
                <a:gd name="T102" fmla="*/ 2064 w 2611"/>
                <a:gd name="T103" fmla="*/ 323 h 324"/>
                <a:gd name="T104" fmla="*/ 2379 w 2611"/>
                <a:gd name="T105" fmla="*/ 323 h 324"/>
                <a:gd name="T106" fmla="*/ 2397 w 2611"/>
                <a:gd name="T107" fmla="*/ 281 h 324"/>
                <a:gd name="T108" fmla="*/ 2369 w 2611"/>
                <a:gd name="T109" fmla="*/ 1 h 324"/>
                <a:gd name="T110" fmla="*/ 385 w 2611"/>
                <a:gd name="T111" fmla="*/ 96 h 324"/>
                <a:gd name="T112" fmla="*/ 232 w 2611"/>
                <a:gd name="T113" fmla="*/ 202 h 324"/>
                <a:gd name="T114" fmla="*/ 370 w 2611"/>
                <a:gd name="T115" fmla="*/ 310 h 324"/>
                <a:gd name="T116" fmla="*/ 426 w 2611"/>
                <a:gd name="T117" fmla="*/ 283 h 324"/>
                <a:gd name="T118" fmla="*/ 385 w 2611"/>
                <a:gd name="T119" fmla="*/ 96 h 324"/>
                <a:gd name="T120" fmla="*/ 323 w 2611"/>
                <a:gd name="T121" fmla="*/ 137 h 324"/>
                <a:gd name="T122" fmla="*/ 323 w 2611"/>
                <a:gd name="T123" fmla="*/ 277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11" h="324">
                  <a:moveTo>
                    <a:pt x="961" y="232"/>
                  </a:moveTo>
                  <a:cubicBezTo>
                    <a:pt x="966" y="262"/>
                    <a:pt x="982" y="279"/>
                    <a:pt x="1010" y="279"/>
                  </a:cubicBezTo>
                  <a:cubicBezTo>
                    <a:pt x="1026" y="279"/>
                    <a:pt x="1042" y="274"/>
                    <a:pt x="1054" y="270"/>
                  </a:cubicBezTo>
                  <a:cubicBezTo>
                    <a:pt x="1060" y="268"/>
                    <a:pt x="1067" y="265"/>
                    <a:pt x="1067" y="265"/>
                  </a:cubicBezTo>
                  <a:cubicBezTo>
                    <a:pt x="1067" y="265"/>
                    <a:pt x="1074" y="274"/>
                    <a:pt x="1074" y="282"/>
                  </a:cubicBezTo>
                  <a:cubicBezTo>
                    <a:pt x="1075" y="292"/>
                    <a:pt x="1073" y="300"/>
                    <a:pt x="1064" y="307"/>
                  </a:cubicBezTo>
                  <a:cubicBezTo>
                    <a:pt x="1051" y="318"/>
                    <a:pt x="1028" y="324"/>
                    <a:pt x="1005" y="324"/>
                  </a:cubicBezTo>
                  <a:cubicBezTo>
                    <a:pt x="975" y="324"/>
                    <a:pt x="952" y="315"/>
                    <a:pt x="936" y="297"/>
                  </a:cubicBezTo>
                  <a:cubicBezTo>
                    <a:pt x="916" y="276"/>
                    <a:pt x="907" y="244"/>
                    <a:pt x="907" y="201"/>
                  </a:cubicBezTo>
                  <a:cubicBezTo>
                    <a:pt x="909" y="130"/>
                    <a:pt x="940" y="91"/>
                    <a:pt x="995" y="91"/>
                  </a:cubicBezTo>
                  <a:cubicBezTo>
                    <a:pt x="1025" y="91"/>
                    <a:pt x="1049" y="98"/>
                    <a:pt x="1064" y="114"/>
                  </a:cubicBezTo>
                  <a:cubicBezTo>
                    <a:pt x="1076" y="127"/>
                    <a:pt x="1080" y="145"/>
                    <a:pt x="1080" y="166"/>
                  </a:cubicBezTo>
                  <a:cubicBezTo>
                    <a:pt x="1078" y="210"/>
                    <a:pt x="1045" y="234"/>
                    <a:pt x="997" y="234"/>
                  </a:cubicBezTo>
                  <a:cubicBezTo>
                    <a:pt x="985" y="234"/>
                    <a:pt x="974" y="233"/>
                    <a:pt x="961" y="232"/>
                  </a:cubicBezTo>
                  <a:moveTo>
                    <a:pt x="994" y="198"/>
                  </a:moveTo>
                  <a:cubicBezTo>
                    <a:pt x="1018" y="198"/>
                    <a:pt x="1029" y="187"/>
                    <a:pt x="1029" y="165"/>
                  </a:cubicBezTo>
                  <a:cubicBezTo>
                    <a:pt x="1030" y="154"/>
                    <a:pt x="1027" y="144"/>
                    <a:pt x="1022" y="139"/>
                  </a:cubicBezTo>
                  <a:cubicBezTo>
                    <a:pt x="1017" y="133"/>
                    <a:pt x="1010" y="130"/>
                    <a:pt x="1000" y="130"/>
                  </a:cubicBezTo>
                  <a:cubicBezTo>
                    <a:pt x="974" y="130"/>
                    <a:pt x="962" y="153"/>
                    <a:pt x="961" y="197"/>
                  </a:cubicBezTo>
                  <a:cubicBezTo>
                    <a:pt x="975" y="198"/>
                    <a:pt x="982" y="198"/>
                    <a:pt x="994" y="198"/>
                  </a:cubicBezTo>
                  <a:moveTo>
                    <a:pt x="2186" y="232"/>
                  </a:moveTo>
                  <a:cubicBezTo>
                    <a:pt x="2191" y="262"/>
                    <a:pt x="2207" y="279"/>
                    <a:pt x="2235" y="279"/>
                  </a:cubicBezTo>
                  <a:cubicBezTo>
                    <a:pt x="2251" y="279"/>
                    <a:pt x="2267" y="274"/>
                    <a:pt x="2279" y="270"/>
                  </a:cubicBezTo>
                  <a:cubicBezTo>
                    <a:pt x="2285" y="268"/>
                    <a:pt x="2292" y="265"/>
                    <a:pt x="2292" y="265"/>
                  </a:cubicBezTo>
                  <a:cubicBezTo>
                    <a:pt x="2292" y="265"/>
                    <a:pt x="2299" y="274"/>
                    <a:pt x="2299" y="282"/>
                  </a:cubicBezTo>
                  <a:cubicBezTo>
                    <a:pt x="2300" y="292"/>
                    <a:pt x="2298" y="300"/>
                    <a:pt x="2289" y="307"/>
                  </a:cubicBezTo>
                  <a:cubicBezTo>
                    <a:pt x="2276" y="318"/>
                    <a:pt x="2253" y="324"/>
                    <a:pt x="2229" y="324"/>
                  </a:cubicBezTo>
                  <a:cubicBezTo>
                    <a:pt x="2200" y="324"/>
                    <a:pt x="2177" y="315"/>
                    <a:pt x="2161" y="297"/>
                  </a:cubicBezTo>
                  <a:cubicBezTo>
                    <a:pt x="2141" y="276"/>
                    <a:pt x="2131" y="244"/>
                    <a:pt x="2132" y="201"/>
                  </a:cubicBezTo>
                  <a:cubicBezTo>
                    <a:pt x="2134" y="130"/>
                    <a:pt x="2165" y="91"/>
                    <a:pt x="2220" y="91"/>
                  </a:cubicBezTo>
                  <a:cubicBezTo>
                    <a:pt x="2250" y="91"/>
                    <a:pt x="2274" y="98"/>
                    <a:pt x="2289" y="114"/>
                  </a:cubicBezTo>
                  <a:cubicBezTo>
                    <a:pt x="2301" y="127"/>
                    <a:pt x="2305" y="145"/>
                    <a:pt x="2305" y="166"/>
                  </a:cubicBezTo>
                  <a:cubicBezTo>
                    <a:pt x="2303" y="210"/>
                    <a:pt x="2270" y="234"/>
                    <a:pt x="2222" y="234"/>
                  </a:cubicBezTo>
                  <a:cubicBezTo>
                    <a:pt x="2210" y="234"/>
                    <a:pt x="2199" y="233"/>
                    <a:pt x="2186" y="232"/>
                  </a:cubicBezTo>
                  <a:moveTo>
                    <a:pt x="2219" y="198"/>
                  </a:moveTo>
                  <a:cubicBezTo>
                    <a:pt x="2243" y="198"/>
                    <a:pt x="2254" y="187"/>
                    <a:pt x="2254" y="165"/>
                  </a:cubicBezTo>
                  <a:cubicBezTo>
                    <a:pt x="2255" y="154"/>
                    <a:pt x="2252" y="144"/>
                    <a:pt x="2247" y="139"/>
                  </a:cubicBezTo>
                  <a:cubicBezTo>
                    <a:pt x="2242" y="133"/>
                    <a:pt x="2235" y="130"/>
                    <a:pt x="2225" y="130"/>
                  </a:cubicBezTo>
                  <a:cubicBezTo>
                    <a:pt x="2199" y="130"/>
                    <a:pt x="2187" y="153"/>
                    <a:pt x="2186" y="197"/>
                  </a:cubicBezTo>
                  <a:cubicBezTo>
                    <a:pt x="2200" y="198"/>
                    <a:pt x="2207" y="198"/>
                    <a:pt x="2219" y="198"/>
                  </a:cubicBezTo>
                  <a:moveTo>
                    <a:pt x="2492" y="232"/>
                  </a:moveTo>
                  <a:cubicBezTo>
                    <a:pt x="2497" y="262"/>
                    <a:pt x="2513" y="279"/>
                    <a:pt x="2541" y="279"/>
                  </a:cubicBezTo>
                  <a:cubicBezTo>
                    <a:pt x="2557" y="279"/>
                    <a:pt x="2573" y="274"/>
                    <a:pt x="2585" y="270"/>
                  </a:cubicBezTo>
                  <a:cubicBezTo>
                    <a:pt x="2591" y="268"/>
                    <a:pt x="2598" y="265"/>
                    <a:pt x="2598" y="265"/>
                  </a:cubicBezTo>
                  <a:cubicBezTo>
                    <a:pt x="2598" y="265"/>
                    <a:pt x="2605" y="274"/>
                    <a:pt x="2605" y="282"/>
                  </a:cubicBezTo>
                  <a:cubicBezTo>
                    <a:pt x="2606" y="292"/>
                    <a:pt x="2604" y="300"/>
                    <a:pt x="2594" y="307"/>
                  </a:cubicBezTo>
                  <a:cubicBezTo>
                    <a:pt x="2582" y="318"/>
                    <a:pt x="2559" y="324"/>
                    <a:pt x="2535" y="324"/>
                  </a:cubicBezTo>
                  <a:cubicBezTo>
                    <a:pt x="2506" y="324"/>
                    <a:pt x="2483" y="315"/>
                    <a:pt x="2466" y="297"/>
                  </a:cubicBezTo>
                  <a:cubicBezTo>
                    <a:pt x="2447" y="276"/>
                    <a:pt x="2437" y="244"/>
                    <a:pt x="2438" y="201"/>
                  </a:cubicBezTo>
                  <a:cubicBezTo>
                    <a:pt x="2439" y="130"/>
                    <a:pt x="2471" y="91"/>
                    <a:pt x="2526" y="91"/>
                  </a:cubicBezTo>
                  <a:cubicBezTo>
                    <a:pt x="2556" y="91"/>
                    <a:pt x="2580" y="98"/>
                    <a:pt x="2594" y="114"/>
                  </a:cubicBezTo>
                  <a:cubicBezTo>
                    <a:pt x="2607" y="127"/>
                    <a:pt x="2611" y="145"/>
                    <a:pt x="2611" y="166"/>
                  </a:cubicBezTo>
                  <a:cubicBezTo>
                    <a:pt x="2609" y="210"/>
                    <a:pt x="2576" y="234"/>
                    <a:pt x="2528" y="234"/>
                  </a:cubicBezTo>
                  <a:cubicBezTo>
                    <a:pt x="2516" y="234"/>
                    <a:pt x="2505" y="233"/>
                    <a:pt x="2492" y="232"/>
                  </a:cubicBezTo>
                  <a:moveTo>
                    <a:pt x="2525" y="198"/>
                  </a:moveTo>
                  <a:cubicBezTo>
                    <a:pt x="2549" y="198"/>
                    <a:pt x="2560" y="187"/>
                    <a:pt x="2560" y="165"/>
                  </a:cubicBezTo>
                  <a:cubicBezTo>
                    <a:pt x="2560" y="154"/>
                    <a:pt x="2558" y="144"/>
                    <a:pt x="2553" y="139"/>
                  </a:cubicBezTo>
                  <a:cubicBezTo>
                    <a:pt x="2548" y="133"/>
                    <a:pt x="2540" y="130"/>
                    <a:pt x="2531" y="130"/>
                  </a:cubicBezTo>
                  <a:cubicBezTo>
                    <a:pt x="2505" y="130"/>
                    <a:pt x="2493" y="153"/>
                    <a:pt x="2492" y="197"/>
                  </a:cubicBezTo>
                  <a:cubicBezTo>
                    <a:pt x="2506" y="198"/>
                    <a:pt x="2512" y="198"/>
                    <a:pt x="2525" y="198"/>
                  </a:cubicBezTo>
                  <a:moveTo>
                    <a:pt x="1516" y="91"/>
                  </a:moveTo>
                  <a:cubicBezTo>
                    <a:pt x="1481" y="91"/>
                    <a:pt x="1422" y="106"/>
                    <a:pt x="1422" y="208"/>
                  </a:cubicBezTo>
                  <a:cubicBezTo>
                    <a:pt x="1422" y="309"/>
                    <a:pt x="1481" y="324"/>
                    <a:pt x="1516" y="324"/>
                  </a:cubicBezTo>
                  <a:cubicBezTo>
                    <a:pt x="1552" y="324"/>
                    <a:pt x="1611" y="309"/>
                    <a:pt x="1611" y="208"/>
                  </a:cubicBezTo>
                  <a:cubicBezTo>
                    <a:pt x="1611" y="106"/>
                    <a:pt x="1552" y="91"/>
                    <a:pt x="1516" y="91"/>
                  </a:cubicBezTo>
                  <a:moveTo>
                    <a:pt x="1516" y="279"/>
                  </a:moveTo>
                  <a:cubicBezTo>
                    <a:pt x="1486" y="279"/>
                    <a:pt x="1478" y="239"/>
                    <a:pt x="1478" y="208"/>
                  </a:cubicBezTo>
                  <a:cubicBezTo>
                    <a:pt x="1478" y="177"/>
                    <a:pt x="1486" y="136"/>
                    <a:pt x="1516" y="136"/>
                  </a:cubicBezTo>
                  <a:cubicBezTo>
                    <a:pt x="1547" y="136"/>
                    <a:pt x="1554" y="177"/>
                    <a:pt x="1554" y="208"/>
                  </a:cubicBezTo>
                  <a:cubicBezTo>
                    <a:pt x="1554" y="239"/>
                    <a:pt x="1547" y="279"/>
                    <a:pt x="1516" y="279"/>
                  </a:cubicBezTo>
                  <a:moveTo>
                    <a:pt x="1735" y="91"/>
                  </a:moveTo>
                  <a:cubicBezTo>
                    <a:pt x="1699" y="91"/>
                    <a:pt x="1640" y="106"/>
                    <a:pt x="1640" y="208"/>
                  </a:cubicBezTo>
                  <a:cubicBezTo>
                    <a:pt x="1640" y="309"/>
                    <a:pt x="1699" y="324"/>
                    <a:pt x="1735" y="324"/>
                  </a:cubicBezTo>
                  <a:cubicBezTo>
                    <a:pt x="1770" y="324"/>
                    <a:pt x="1829" y="309"/>
                    <a:pt x="1829" y="208"/>
                  </a:cubicBezTo>
                  <a:cubicBezTo>
                    <a:pt x="1829" y="106"/>
                    <a:pt x="1770" y="91"/>
                    <a:pt x="1735" y="91"/>
                  </a:cubicBezTo>
                  <a:moveTo>
                    <a:pt x="1735" y="279"/>
                  </a:moveTo>
                  <a:cubicBezTo>
                    <a:pt x="1704" y="279"/>
                    <a:pt x="1697" y="239"/>
                    <a:pt x="1697" y="208"/>
                  </a:cubicBezTo>
                  <a:cubicBezTo>
                    <a:pt x="1697" y="177"/>
                    <a:pt x="1704" y="136"/>
                    <a:pt x="1735" y="136"/>
                  </a:cubicBezTo>
                  <a:cubicBezTo>
                    <a:pt x="1766" y="136"/>
                    <a:pt x="1772" y="177"/>
                    <a:pt x="1772" y="208"/>
                  </a:cubicBezTo>
                  <a:cubicBezTo>
                    <a:pt x="1772" y="239"/>
                    <a:pt x="1766" y="279"/>
                    <a:pt x="1735" y="279"/>
                  </a:cubicBezTo>
                  <a:moveTo>
                    <a:pt x="205" y="0"/>
                  </a:moveTo>
                  <a:cubicBezTo>
                    <a:pt x="187" y="0"/>
                    <a:pt x="175" y="4"/>
                    <a:pt x="175" y="4"/>
                  </a:cubicBezTo>
                  <a:cubicBezTo>
                    <a:pt x="137" y="160"/>
                    <a:pt x="137" y="160"/>
                    <a:pt x="137" y="160"/>
                  </a:cubicBezTo>
                  <a:cubicBezTo>
                    <a:pt x="133" y="176"/>
                    <a:pt x="123" y="222"/>
                    <a:pt x="119" y="247"/>
                  </a:cubicBezTo>
                  <a:cubicBezTo>
                    <a:pt x="115" y="221"/>
                    <a:pt x="106" y="177"/>
                    <a:pt x="101" y="160"/>
                  </a:cubicBezTo>
                  <a:cubicBezTo>
                    <a:pt x="69" y="25"/>
                    <a:pt x="69" y="25"/>
                    <a:pt x="69" y="25"/>
                  </a:cubicBezTo>
                  <a:cubicBezTo>
                    <a:pt x="65" y="9"/>
                    <a:pt x="55" y="1"/>
                    <a:pt x="39" y="1"/>
                  </a:cubicBezTo>
                  <a:cubicBezTo>
                    <a:pt x="18" y="1"/>
                    <a:pt x="4" y="10"/>
                    <a:pt x="0" y="13"/>
                  </a:cubicBezTo>
                  <a:cubicBezTo>
                    <a:pt x="4" y="19"/>
                    <a:pt x="8" y="25"/>
                    <a:pt x="13" y="42"/>
                  </a:cubicBezTo>
                  <a:cubicBezTo>
                    <a:pt x="79" y="292"/>
                    <a:pt x="79" y="292"/>
                    <a:pt x="79" y="292"/>
                  </a:cubicBezTo>
                  <a:cubicBezTo>
                    <a:pt x="84" y="312"/>
                    <a:pt x="92" y="321"/>
                    <a:pt x="106" y="321"/>
                  </a:cubicBezTo>
                  <a:cubicBezTo>
                    <a:pt x="120" y="321"/>
                    <a:pt x="134" y="321"/>
                    <a:pt x="151" y="312"/>
                  </a:cubicBezTo>
                  <a:cubicBezTo>
                    <a:pt x="226" y="29"/>
                    <a:pt x="226" y="29"/>
                    <a:pt x="226" y="29"/>
                  </a:cubicBezTo>
                  <a:cubicBezTo>
                    <a:pt x="232" y="9"/>
                    <a:pt x="220" y="0"/>
                    <a:pt x="205" y="0"/>
                  </a:cubicBezTo>
                  <a:moveTo>
                    <a:pt x="864" y="24"/>
                  </a:moveTo>
                  <a:cubicBezTo>
                    <a:pt x="864" y="7"/>
                    <a:pt x="854" y="1"/>
                    <a:pt x="840" y="1"/>
                  </a:cubicBezTo>
                  <a:cubicBezTo>
                    <a:pt x="828" y="1"/>
                    <a:pt x="813" y="3"/>
                    <a:pt x="807" y="6"/>
                  </a:cubicBezTo>
                  <a:cubicBezTo>
                    <a:pt x="811" y="13"/>
                    <a:pt x="812" y="25"/>
                    <a:pt x="812" y="35"/>
                  </a:cubicBezTo>
                  <a:cubicBezTo>
                    <a:pt x="812" y="112"/>
                    <a:pt x="812" y="112"/>
                    <a:pt x="812" y="112"/>
                  </a:cubicBezTo>
                  <a:cubicBezTo>
                    <a:pt x="799" y="99"/>
                    <a:pt x="785" y="91"/>
                    <a:pt x="766" y="91"/>
                  </a:cubicBezTo>
                  <a:cubicBezTo>
                    <a:pt x="744" y="91"/>
                    <a:pt x="726" y="98"/>
                    <a:pt x="713" y="113"/>
                  </a:cubicBezTo>
                  <a:cubicBezTo>
                    <a:pt x="689" y="138"/>
                    <a:pt x="684" y="180"/>
                    <a:pt x="684" y="202"/>
                  </a:cubicBezTo>
                  <a:cubicBezTo>
                    <a:pt x="684" y="246"/>
                    <a:pt x="693" y="282"/>
                    <a:pt x="713" y="303"/>
                  </a:cubicBezTo>
                  <a:cubicBezTo>
                    <a:pt x="725" y="316"/>
                    <a:pt x="742" y="323"/>
                    <a:pt x="760" y="323"/>
                  </a:cubicBezTo>
                  <a:cubicBezTo>
                    <a:pt x="784" y="323"/>
                    <a:pt x="802" y="312"/>
                    <a:pt x="813" y="295"/>
                  </a:cubicBezTo>
                  <a:cubicBezTo>
                    <a:pt x="813" y="295"/>
                    <a:pt x="817" y="305"/>
                    <a:pt x="821" y="310"/>
                  </a:cubicBezTo>
                  <a:cubicBezTo>
                    <a:pt x="828" y="318"/>
                    <a:pt x="836" y="322"/>
                    <a:pt x="850" y="322"/>
                  </a:cubicBezTo>
                  <a:cubicBezTo>
                    <a:pt x="874" y="322"/>
                    <a:pt x="887" y="314"/>
                    <a:pt x="888" y="295"/>
                  </a:cubicBezTo>
                  <a:cubicBezTo>
                    <a:pt x="888" y="291"/>
                    <a:pt x="886" y="285"/>
                    <a:pt x="885" y="283"/>
                  </a:cubicBezTo>
                  <a:cubicBezTo>
                    <a:pt x="878" y="283"/>
                    <a:pt x="878" y="283"/>
                    <a:pt x="878" y="283"/>
                  </a:cubicBezTo>
                  <a:cubicBezTo>
                    <a:pt x="873" y="283"/>
                    <a:pt x="870" y="282"/>
                    <a:pt x="868" y="281"/>
                  </a:cubicBezTo>
                  <a:cubicBezTo>
                    <a:pt x="865" y="278"/>
                    <a:pt x="864" y="273"/>
                    <a:pt x="864" y="264"/>
                  </a:cubicBezTo>
                  <a:lnTo>
                    <a:pt x="864" y="24"/>
                  </a:lnTo>
                  <a:close/>
                  <a:moveTo>
                    <a:pt x="774" y="277"/>
                  </a:moveTo>
                  <a:cubicBezTo>
                    <a:pt x="766" y="277"/>
                    <a:pt x="760" y="274"/>
                    <a:pt x="755" y="269"/>
                  </a:cubicBezTo>
                  <a:cubicBezTo>
                    <a:pt x="740" y="253"/>
                    <a:pt x="738" y="219"/>
                    <a:pt x="738" y="206"/>
                  </a:cubicBezTo>
                  <a:cubicBezTo>
                    <a:pt x="738" y="175"/>
                    <a:pt x="745" y="137"/>
                    <a:pt x="775" y="137"/>
                  </a:cubicBezTo>
                  <a:cubicBezTo>
                    <a:pt x="784" y="137"/>
                    <a:pt x="791" y="140"/>
                    <a:pt x="796" y="145"/>
                  </a:cubicBezTo>
                  <a:cubicBezTo>
                    <a:pt x="808" y="158"/>
                    <a:pt x="810" y="185"/>
                    <a:pt x="810" y="206"/>
                  </a:cubicBezTo>
                  <a:cubicBezTo>
                    <a:pt x="810" y="213"/>
                    <a:pt x="810" y="213"/>
                    <a:pt x="810" y="213"/>
                  </a:cubicBezTo>
                  <a:cubicBezTo>
                    <a:pt x="809" y="242"/>
                    <a:pt x="802" y="277"/>
                    <a:pt x="774" y="277"/>
                  </a:cubicBezTo>
                  <a:moveTo>
                    <a:pt x="659" y="283"/>
                  </a:moveTo>
                  <a:cubicBezTo>
                    <a:pt x="652" y="283"/>
                    <a:pt x="652" y="283"/>
                    <a:pt x="652" y="283"/>
                  </a:cubicBezTo>
                  <a:cubicBezTo>
                    <a:pt x="647" y="283"/>
                    <a:pt x="644" y="282"/>
                    <a:pt x="642" y="281"/>
                  </a:cubicBezTo>
                  <a:cubicBezTo>
                    <a:pt x="640" y="278"/>
                    <a:pt x="639" y="273"/>
                    <a:pt x="639" y="264"/>
                  </a:cubicBezTo>
                  <a:cubicBezTo>
                    <a:pt x="639" y="189"/>
                    <a:pt x="639" y="189"/>
                    <a:pt x="639" y="189"/>
                  </a:cubicBezTo>
                  <a:cubicBezTo>
                    <a:pt x="639" y="144"/>
                    <a:pt x="631" y="92"/>
                    <a:pt x="575" y="92"/>
                  </a:cubicBezTo>
                  <a:cubicBezTo>
                    <a:pt x="554" y="92"/>
                    <a:pt x="536" y="100"/>
                    <a:pt x="523" y="115"/>
                  </a:cubicBezTo>
                  <a:cubicBezTo>
                    <a:pt x="522" y="100"/>
                    <a:pt x="512" y="94"/>
                    <a:pt x="499" y="94"/>
                  </a:cubicBezTo>
                  <a:cubicBezTo>
                    <a:pt x="486" y="94"/>
                    <a:pt x="472" y="97"/>
                    <a:pt x="466" y="100"/>
                  </a:cubicBezTo>
                  <a:cubicBezTo>
                    <a:pt x="469" y="106"/>
                    <a:pt x="470" y="118"/>
                    <a:pt x="470" y="129"/>
                  </a:cubicBezTo>
                  <a:cubicBezTo>
                    <a:pt x="470" y="150"/>
                    <a:pt x="470" y="150"/>
                    <a:pt x="470" y="150"/>
                  </a:cubicBezTo>
                  <a:cubicBezTo>
                    <a:pt x="470" y="150"/>
                    <a:pt x="470" y="150"/>
                    <a:pt x="470" y="150"/>
                  </a:cubicBezTo>
                  <a:cubicBezTo>
                    <a:pt x="470" y="299"/>
                    <a:pt x="470" y="299"/>
                    <a:pt x="470" y="299"/>
                  </a:cubicBezTo>
                  <a:cubicBezTo>
                    <a:pt x="470" y="316"/>
                    <a:pt x="480" y="321"/>
                    <a:pt x="495" y="321"/>
                  </a:cubicBezTo>
                  <a:cubicBezTo>
                    <a:pt x="507" y="321"/>
                    <a:pt x="519" y="319"/>
                    <a:pt x="525" y="316"/>
                  </a:cubicBezTo>
                  <a:cubicBezTo>
                    <a:pt x="525" y="275"/>
                    <a:pt x="525" y="275"/>
                    <a:pt x="525" y="275"/>
                  </a:cubicBezTo>
                  <a:cubicBezTo>
                    <a:pt x="525" y="275"/>
                    <a:pt x="525" y="275"/>
                    <a:pt x="525" y="275"/>
                  </a:cubicBezTo>
                  <a:cubicBezTo>
                    <a:pt x="525" y="166"/>
                    <a:pt x="525" y="166"/>
                    <a:pt x="525" y="166"/>
                  </a:cubicBezTo>
                  <a:cubicBezTo>
                    <a:pt x="532" y="147"/>
                    <a:pt x="542" y="138"/>
                    <a:pt x="557" y="138"/>
                  </a:cubicBezTo>
                  <a:cubicBezTo>
                    <a:pt x="574" y="138"/>
                    <a:pt x="583" y="152"/>
                    <a:pt x="584" y="177"/>
                  </a:cubicBezTo>
                  <a:cubicBezTo>
                    <a:pt x="584" y="270"/>
                    <a:pt x="584" y="270"/>
                    <a:pt x="584" y="270"/>
                  </a:cubicBezTo>
                  <a:cubicBezTo>
                    <a:pt x="584" y="288"/>
                    <a:pt x="588" y="302"/>
                    <a:pt x="594" y="310"/>
                  </a:cubicBezTo>
                  <a:cubicBezTo>
                    <a:pt x="601" y="318"/>
                    <a:pt x="611" y="322"/>
                    <a:pt x="624" y="322"/>
                  </a:cubicBezTo>
                  <a:cubicBezTo>
                    <a:pt x="648" y="322"/>
                    <a:pt x="662" y="314"/>
                    <a:pt x="662" y="295"/>
                  </a:cubicBezTo>
                  <a:cubicBezTo>
                    <a:pt x="662" y="291"/>
                    <a:pt x="660" y="285"/>
                    <a:pt x="659" y="283"/>
                  </a:cubicBezTo>
                  <a:moveTo>
                    <a:pt x="1402" y="283"/>
                  </a:moveTo>
                  <a:cubicBezTo>
                    <a:pt x="1394" y="283"/>
                    <a:pt x="1394" y="283"/>
                    <a:pt x="1394" y="283"/>
                  </a:cubicBezTo>
                  <a:cubicBezTo>
                    <a:pt x="1389" y="283"/>
                    <a:pt x="1387" y="282"/>
                    <a:pt x="1385" y="281"/>
                  </a:cubicBezTo>
                  <a:cubicBezTo>
                    <a:pt x="1382" y="278"/>
                    <a:pt x="1381" y="273"/>
                    <a:pt x="1381" y="264"/>
                  </a:cubicBezTo>
                  <a:cubicBezTo>
                    <a:pt x="1381" y="183"/>
                    <a:pt x="1381" y="183"/>
                    <a:pt x="1381" y="183"/>
                  </a:cubicBezTo>
                  <a:cubicBezTo>
                    <a:pt x="1381" y="142"/>
                    <a:pt x="1374" y="94"/>
                    <a:pt x="1315" y="94"/>
                  </a:cubicBezTo>
                  <a:cubicBezTo>
                    <a:pt x="1296" y="94"/>
                    <a:pt x="1275" y="102"/>
                    <a:pt x="1261" y="118"/>
                  </a:cubicBezTo>
                  <a:cubicBezTo>
                    <a:pt x="1251" y="102"/>
                    <a:pt x="1236" y="94"/>
                    <a:pt x="1216" y="94"/>
                  </a:cubicBezTo>
                  <a:cubicBezTo>
                    <a:pt x="1198" y="94"/>
                    <a:pt x="1181" y="102"/>
                    <a:pt x="1166" y="118"/>
                  </a:cubicBezTo>
                  <a:cubicBezTo>
                    <a:pt x="1166" y="117"/>
                    <a:pt x="1166" y="117"/>
                    <a:pt x="1166" y="117"/>
                  </a:cubicBezTo>
                  <a:cubicBezTo>
                    <a:pt x="1166" y="100"/>
                    <a:pt x="1156" y="94"/>
                    <a:pt x="1142" y="94"/>
                  </a:cubicBezTo>
                  <a:cubicBezTo>
                    <a:pt x="1130" y="94"/>
                    <a:pt x="1115" y="97"/>
                    <a:pt x="1109" y="100"/>
                  </a:cubicBezTo>
                  <a:cubicBezTo>
                    <a:pt x="1112" y="106"/>
                    <a:pt x="1113" y="115"/>
                    <a:pt x="1113" y="125"/>
                  </a:cubicBezTo>
                  <a:cubicBezTo>
                    <a:pt x="1113" y="299"/>
                    <a:pt x="1113" y="299"/>
                    <a:pt x="1113" y="299"/>
                  </a:cubicBezTo>
                  <a:cubicBezTo>
                    <a:pt x="1113" y="316"/>
                    <a:pt x="1124" y="322"/>
                    <a:pt x="1138" y="322"/>
                  </a:cubicBezTo>
                  <a:cubicBezTo>
                    <a:pt x="1150" y="322"/>
                    <a:pt x="1162" y="319"/>
                    <a:pt x="1168" y="316"/>
                  </a:cubicBezTo>
                  <a:cubicBezTo>
                    <a:pt x="1168" y="168"/>
                    <a:pt x="1168" y="168"/>
                    <a:pt x="1168" y="168"/>
                  </a:cubicBezTo>
                  <a:cubicBezTo>
                    <a:pt x="1171" y="156"/>
                    <a:pt x="1179" y="140"/>
                    <a:pt x="1195" y="140"/>
                  </a:cubicBezTo>
                  <a:cubicBezTo>
                    <a:pt x="1202" y="140"/>
                    <a:pt x="1207" y="142"/>
                    <a:pt x="1211" y="147"/>
                  </a:cubicBezTo>
                  <a:cubicBezTo>
                    <a:pt x="1217" y="153"/>
                    <a:pt x="1220" y="164"/>
                    <a:pt x="1220" y="179"/>
                  </a:cubicBezTo>
                  <a:cubicBezTo>
                    <a:pt x="1220" y="299"/>
                    <a:pt x="1220" y="299"/>
                    <a:pt x="1220" y="299"/>
                  </a:cubicBezTo>
                  <a:cubicBezTo>
                    <a:pt x="1220" y="316"/>
                    <a:pt x="1230" y="322"/>
                    <a:pt x="1245" y="322"/>
                  </a:cubicBezTo>
                  <a:cubicBezTo>
                    <a:pt x="1257" y="322"/>
                    <a:pt x="1269" y="319"/>
                    <a:pt x="1275" y="316"/>
                  </a:cubicBezTo>
                  <a:cubicBezTo>
                    <a:pt x="1275" y="168"/>
                    <a:pt x="1275" y="168"/>
                    <a:pt x="1275" y="168"/>
                  </a:cubicBezTo>
                  <a:cubicBezTo>
                    <a:pt x="1278" y="156"/>
                    <a:pt x="1287" y="140"/>
                    <a:pt x="1303" y="140"/>
                  </a:cubicBezTo>
                  <a:cubicBezTo>
                    <a:pt x="1309" y="140"/>
                    <a:pt x="1314" y="142"/>
                    <a:pt x="1318" y="147"/>
                  </a:cubicBezTo>
                  <a:cubicBezTo>
                    <a:pt x="1324" y="153"/>
                    <a:pt x="1327" y="164"/>
                    <a:pt x="1327" y="179"/>
                  </a:cubicBezTo>
                  <a:cubicBezTo>
                    <a:pt x="1327" y="270"/>
                    <a:pt x="1327" y="270"/>
                    <a:pt x="1327" y="270"/>
                  </a:cubicBezTo>
                  <a:cubicBezTo>
                    <a:pt x="1327" y="288"/>
                    <a:pt x="1330" y="302"/>
                    <a:pt x="1337" y="310"/>
                  </a:cubicBezTo>
                  <a:cubicBezTo>
                    <a:pt x="1344" y="318"/>
                    <a:pt x="1353" y="322"/>
                    <a:pt x="1367" y="322"/>
                  </a:cubicBezTo>
                  <a:cubicBezTo>
                    <a:pt x="1391" y="322"/>
                    <a:pt x="1404" y="314"/>
                    <a:pt x="1404" y="295"/>
                  </a:cubicBezTo>
                  <a:cubicBezTo>
                    <a:pt x="1404" y="291"/>
                    <a:pt x="1403" y="285"/>
                    <a:pt x="1402" y="283"/>
                  </a:cubicBezTo>
                  <a:moveTo>
                    <a:pt x="1864" y="299"/>
                  </a:moveTo>
                  <a:cubicBezTo>
                    <a:pt x="1864" y="316"/>
                    <a:pt x="1875" y="322"/>
                    <a:pt x="1889" y="322"/>
                  </a:cubicBezTo>
                  <a:cubicBezTo>
                    <a:pt x="1901" y="322"/>
                    <a:pt x="1913" y="319"/>
                    <a:pt x="1919" y="316"/>
                  </a:cubicBezTo>
                  <a:cubicBezTo>
                    <a:pt x="1919" y="184"/>
                    <a:pt x="1919" y="184"/>
                    <a:pt x="1919" y="184"/>
                  </a:cubicBezTo>
                  <a:cubicBezTo>
                    <a:pt x="1921" y="156"/>
                    <a:pt x="1933" y="142"/>
                    <a:pt x="1955" y="142"/>
                  </a:cubicBezTo>
                  <a:cubicBezTo>
                    <a:pt x="1962" y="142"/>
                    <a:pt x="1967" y="144"/>
                    <a:pt x="1971" y="146"/>
                  </a:cubicBezTo>
                  <a:cubicBezTo>
                    <a:pt x="1973" y="147"/>
                    <a:pt x="1977" y="148"/>
                    <a:pt x="1979" y="150"/>
                  </a:cubicBezTo>
                  <a:cubicBezTo>
                    <a:pt x="1979" y="150"/>
                    <a:pt x="1989" y="140"/>
                    <a:pt x="1989" y="125"/>
                  </a:cubicBezTo>
                  <a:cubicBezTo>
                    <a:pt x="1988" y="108"/>
                    <a:pt x="1977" y="91"/>
                    <a:pt x="1952" y="91"/>
                  </a:cubicBezTo>
                  <a:cubicBezTo>
                    <a:pt x="1938" y="91"/>
                    <a:pt x="1924" y="98"/>
                    <a:pt x="1915" y="110"/>
                  </a:cubicBezTo>
                  <a:cubicBezTo>
                    <a:pt x="1912" y="99"/>
                    <a:pt x="1904" y="94"/>
                    <a:pt x="1892" y="94"/>
                  </a:cubicBezTo>
                  <a:cubicBezTo>
                    <a:pt x="1880" y="94"/>
                    <a:pt x="1866" y="97"/>
                    <a:pt x="1860" y="100"/>
                  </a:cubicBezTo>
                  <a:cubicBezTo>
                    <a:pt x="1863" y="106"/>
                    <a:pt x="1864" y="118"/>
                    <a:pt x="1864" y="129"/>
                  </a:cubicBezTo>
                  <a:lnTo>
                    <a:pt x="1864" y="299"/>
                  </a:lnTo>
                  <a:close/>
                  <a:moveTo>
                    <a:pt x="2113" y="287"/>
                  </a:moveTo>
                  <a:cubicBezTo>
                    <a:pt x="2111" y="275"/>
                    <a:pt x="2105" y="270"/>
                    <a:pt x="2105" y="270"/>
                  </a:cubicBezTo>
                  <a:cubicBezTo>
                    <a:pt x="2103" y="270"/>
                    <a:pt x="2099" y="272"/>
                    <a:pt x="2096" y="273"/>
                  </a:cubicBezTo>
                  <a:cubicBezTo>
                    <a:pt x="2092" y="275"/>
                    <a:pt x="2085" y="277"/>
                    <a:pt x="2079" y="277"/>
                  </a:cubicBezTo>
                  <a:cubicBezTo>
                    <a:pt x="2068" y="277"/>
                    <a:pt x="2063" y="270"/>
                    <a:pt x="2063" y="252"/>
                  </a:cubicBezTo>
                  <a:cubicBezTo>
                    <a:pt x="2063" y="142"/>
                    <a:pt x="2063" y="142"/>
                    <a:pt x="2063" y="142"/>
                  </a:cubicBezTo>
                  <a:cubicBezTo>
                    <a:pt x="2091" y="142"/>
                    <a:pt x="2091" y="142"/>
                    <a:pt x="2091" y="142"/>
                  </a:cubicBezTo>
                  <a:cubicBezTo>
                    <a:pt x="2109" y="142"/>
                    <a:pt x="2112" y="125"/>
                    <a:pt x="2112" y="114"/>
                  </a:cubicBezTo>
                  <a:cubicBezTo>
                    <a:pt x="2112" y="107"/>
                    <a:pt x="2111" y="101"/>
                    <a:pt x="2106" y="97"/>
                  </a:cubicBezTo>
                  <a:cubicBezTo>
                    <a:pt x="2063" y="97"/>
                    <a:pt x="2063" y="97"/>
                    <a:pt x="2063" y="97"/>
                  </a:cubicBezTo>
                  <a:cubicBezTo>
                    <a:pt x="2063" y="69"/>
                    <a:pt x="2063" y="69"/>
                    <a:pt x="2063" y="69"/>
                  </a:cubicBezTo>
                  <a:cubicBezTo>
                    <a:pt x="2063" y="52"/>
                    <a:pt x="2053" y="46"/>
                    <a:pt x="2038" y="46"/>
                  </a:cubicBezTo>
                  <a:cubicBezTo>
                    <a:pt x="2025" y="46"/>
                    <a:pt x="2010" y="48"/>
                    <a:pt x="2004" y="51"/>
                  </a:cubicBezTo>
                  <a:cubicBezTo>
                    <a:pt x="2007" y="57"/>
                    <a:pt x="2008" y="66"/>
                    <a:pt x="2008" y="76"/>
                  </a:cubicBezTo>
                  <a:cubicBezTo>
                    <a:pt x="2008" y="256"/>
                    <a:pt x="2008" y="256"/>
                    <a:pt x="2008" y="256"/>
                  </a:cubicBezTo>
                  <a:cubicBezTo>
                    <a:pt x="2008" y="299"/>
                    <a:pt x="2030" y="323"/>
                    <a:pt x="2064" y="323"/>
                  </a:cubicBezTo>
                  <a:cubicBezTo>
                    <a:pt x="2100" y="323"/>
                    <a:pt x="2115" y="304"/>
                    <a:pt x="2113" y="287"/>
                  </a:cubicBezTo>
                  <a:moveTo>
                    <a:pt x="2339" y="270"/>
                  </a:moveTo>
                  <a:cubicBezTo>
                    <a:pt x="2339" y="289"/>
                    <a:pt x="2343" y="302"/>
                    <a:pt x="2350" y="311"/>
                  </a:cubicBezTo>
                  <a:cubicBezTo>
                    <a:pt x="2356" y="319"/>
                    <a:pt x="2366" y="323"/>
                    <a:pt x="2379" y="323"/>
                  </a:cubicBezTo>
                  <a:cubicBezTo>
                    <a:pt x="2404" y="323"/>
                    <a:pt x="2417" y="314"/>
                    <a:pt x="2417" y="295"/>
                  </a:cubicBezTo>
                  <a:cubicBezTo>
                    <a:pt x="2417" y="291"/>
                    <a:pt x="2416" y="285"/>
                    <a:pt x="2415" y="283"/>
                  </a:cubicBezTo>
                  <a:cubicBezTo>
                    <a:pt x="2407" y="283"/>
                    <a:pt x="2407" y="283"/>
                    <a:pt x="2407" y="283"/>
                  </a:cubicBezTo>
                  <a:cubicBezTo>
                    <a:pt x="2402" y="283"/>
                    <a:pt x="2399" y="283"/>
                    <a:pt x="2397" y="281"/>
                  </a:cubicBezTo>
                  <a:cubicBezTo>
                    <a:pt x="2395" y="279"/>
                    <a:pt x="2394" y="274"/>
                    <a:pt x="2394" y="264"/>
                  </a:cubicBezTo>
                  <a:cubicBezTo>
                    <a:pt x="2394" y="24"/>
                    <a:pt x="2394" y="24"/>
                    <a:pt x="2394" y="24"/>
                  </a:cubicBezTo>
                  <a:cubicBezTo>
                    <a:pt x="2394" y="21"/>
                    <a:pt x="2394" y="18"/>
                    <a:pt x="2393" y="16"/>
                  </a:cubicBezTo>
                  <a:cubicBezTo>
                    <a:pt x="2390" y="5"/>
                    <a:pt x="2381" y="1"/>
                    <a:pt x="2369" y="1"/>
                  </a:cubicBezTo>
                  <a:cubicBezTo>
                    <a:pt x="2356" y="1"/>
                    <a:pt x="2341" y="4"/>
                    <a:pt x="2335" y="7"/>
                  </a:cubicBezTo>
                  <a:cubicBezTo>
                    <a:pt x="2338" y="13"/>
                    <a:pt x="2339" y="25"/>
                    <a:pt x="2339" y="36"/>
                  </a:cubicBezTo>
                  <a:lnTo>
                    <a:pt x="2339" y="270"/>
                  </a:lnTo>
                  <a:close/>
                  <a:moveTo>
                    <a:pt x="385" y="96"/>
                  </a:moveTo>
                  <a:cubicBezTo>
                    <a:pt x="373" y="96"/>
                    <a:pt x="364" y="101"/>
                    <a:pt x="362" y="115"/>
                  </a:cubicBezTo>
                  <a:cubicBezTo>
                    <a:pt x="353" y="102"/>
                    <a:pt x="336" y="91"/>
                    <a:pt x="315" y="91"/>
                  </a:cubicBezTo>
                  <a:cubicBezTo>
                    <a:pt x="293" y="91"/>
                    <a:pt x="275" y="98"/>
                    <a:pt x="261" y="113"/>
                  </a:cubicBezTo>
                  <a:cubicBezTo>
                    <a:pt x="237" y="138"/>
                    <a:pt x="232" y="180"/>
                    <a:pt x="232" y="202"/>
                  </a:cubicBezTo>
                  <a:cubicBezTo>
                    <a:pt x="232" y="245"/>
                    <a:pt x="241" y="281"/>
                    <a:pt x="262" y="303"/>
                  </a:cubicBezTo>
                  <a:cubicBezTo>
                    <a:pt x="274" y="316"/>
                    <a:pt x="290" y="323"/>
                    <a:pt x="309" y="323"/>
                  </a:cubicBezTo>
                  <a:cubicBezTo>
                    <a:pt x="332" y="323"/>
                    <a:pt x="351" y="313"/>
                    <a:pt x="362" y="295"/>
                  </a:cubicBezTo>
                  <a:cubicBezTo>
                    <a:pt x="362" y="295"/>
                    <a:pt x="365" y="305"/>
                    <a:pt x="370" y="310"/>
                  </a:cubicBezTo>
                  <a:cubicBezTo>
                    <a:pt x="376" y="318"/>
                    <a:pt x="385" y="322"/>
                    <a:pt x="398" y="322"/>
                  </a:cubicBezTo>
                  <a:cubicBezTo>
                    <a:pt x="422" y="322"/>
                    <a:pt x="436" y="314"/>
                    <a:pt x="436" y="295"/>
                  </a:cubicBezTo>
                  <a:cubicBezTo>
                    <a:pt x="436" y="291"/>
                    <a:pt x="435" y="285"/>
                    <a:pt x="433" y="283"/>
                  </a:cubicBezTo>
                  <a:cubicBezTo>
                    <a:pt x="426" y="283"/>
                    <a:pt x="426" y="283"/>
                    <a:pt x="426" y="283"/>
                  </a:cubicBezTo>
                  <a:cubicBezTo>
                    <a:pt x="421" y="283"/>
                    <a:pt x="418" y="282"/>
                    <a:pt x="416" y="281"/>
                  </a:cubicBezTo>
                  <a:cubicBezTo>
                    <a:pt x="414" y="278"/>
                    <a:pt x="413" y="273"/>
                    <a:pt x="413" y="264"/>
                  </a:cubicBezTo>
                  <a:cubicBezTo>
                    <a:pt x="413" y="96"/>
                    <a:pt x="413" y="96"/>
                    <a:pt x="413" y="96"/>
                  </a:cubicBezTo>
                  <a:lnTo>
                    <a:pt x="385" y="96"/>
                  </a:lnTo>
                  <a:close/>
                  <a:moveTo>
                    <a:pt x="323" y="277"/>
                  </a:moveTo>
                  <a:cubicBezTo>
                    <a:pt x="315" y="277"/>
                    <a:pt x="309" y="274"/>
                    <a:pt x="303" y="269"/>
                  </a:cubicBezTo>
                  <a:cubicBezTo>
                    <a:pt x="288" y="253"/>
                    <a:pt x="287" y="219"/>
                    <a:pt x="287" y="206"/>
                  </a:cubicBezTo>
                  <a:cubicBezTo>
                    <a:pt x="287" y="175"/>
                    <a:pt x="293" y="137"/>
                    <a:pt x="323" y="137"/>
                  </a:cubicBezTo>
                  <a:cubicBezTo>
                    <a:pt x="332" y="137"/>
                    <a:pt x="339" y="139"/>
                    <a:pt x="345" y="145"/>
                  </a:cubicBezTo>
                  <a:cubicBezTo>
                    <a:pt x="357" y="158"/>
                    <a:pt x="358" y="185"/>
                    <a:pt x="358" y="206"/>
                  </a:cubicBezTo>
                  <a:cubicBezTo>
                    <a:pt x="358" y="213"/>
                    <a:pt x="358" y="213"/>
                    <a:pt x="358" y="213"/>
                  </a:cubicBezTo>
                  <a:cubicBezTo>
                    <a:pt x="357" y="241"/>
                    <a:pt x="350" y="277"/>
                    <a:pt x="323" y="2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6" name="Freeform 6"/>
            <p:cNvSpPr>
              <a:spLocks noSelect="1"/>
            </p:cNvSpPr>
            <p:nvPr/>
          </p:nvSpPr>
          <p:spPr bwMode="gray">
            <a:xfrm>
              <a:off x="636" y="4062"/>
              <a:ext cx="109" cy="97"/>
            </a:xfrm>
            <a:custGeom>
              <a:avLst/>
              <a:gdLst>
                <a:gd name="T0" fmla="*/ 89 w 291"/>
                <a:gd name="T1" fmla="*/ 200 h 259"/>
                <a:gd name="T2" fmla="*/ 290 w 291"/>
                <a:gd name="T3" fmla="*/ 241 h 259"/>
                <a:gd name="T4" fmla="*/ 201 w 291"/>
                <a:gd name="T5" fmla="*/ 59 h 259"/>
                <a:gd name="T6" fmla="*/ 1 w 291"/>
                <a:gd name="T7" fmla="*/ 18 h 259"/>
                <a:gd name="T8" fmla="*/ 89 w 291"/>
                <a:gd name="T9" fmla="*/ 200 h 259"/>
              </a:gdLst>
              <a:ahLst/>
              <a:cxnLst>
                <a:cxn ang="0">
                  <a:pos x="T0" y="T1"/>
                </a:cxn>
                <a:cxn ang="0">
                  <a:pos x="T2" y="T3"/>
                </a:cxn>
                <a:cxn ang="0">
                  <a:pos x="T4" y="T5"/>
                </a:cxn>
                <a:cxn ang="0">
                  <a:pos x="T6" y="T7"/>
                </a:cxn>
                <a:cxn ang="0">
                  <a:pos x="T8" y="T9"/>
                </a:cxn>
              </a:cxnLst>
              <a:rect l="0" t="0" r="r" b="b"/>
              <a:pathLst>
                <a:path w="291" h="259">
                  <a:moveTo>
                    <a:pt x="89" y="200"/>
                  </a:moveTo>
                  <a:cubicBezTo>
                    <a:pt x="148" y="246"/>
                    <a:pt x="222" y="259"/>
                    <a:pt x="290" y="241"/>
                  </a:cubicBezTo>
                  <a:cubicBezTo>
                    <a:pt x="291" y="172"/>
                    <a:pt x="260" y="104"/>
                    <a:pt x="201" y="59"/>
                  </a:cubicBezTo>
                  <a:cubicBezTo>
                    <a:pt x="142" y="13"/>
                    <a:pt x="68" y="0"/>
                    <a:pt x="1" y="18"/>
                  </a:cubicBezTo>
                  <a:cubicBezTo>
                    <a:pt x="0" y="87"/>
                    <a:pt x="30" y="155"/>
                    <a:pt x="89" y="20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7" name="Freeform 7"/>
            <p:cNvSpPr>
              <a:spLocks noSelect="1"/>
            </p:cNvSpPr>
            <p:nvPr/>
          </p:nvSpPr>
          <p:spPr bwMode="gray">
            <a:xfrm>
              <a:off x="713" y="3938"/>
              <a:ext cx="49" cy="82"/>
            </a:xfrm>
            <a:custGeom>
              <a:avLst/>
              <a:gdLst>
                <a:gd name="T0" fmla="*/ 10 w 130"/>
                <a:gd name="T1" fmla="*/ 97 h 218"/>
                <a:gd name="T2" fmla="*/ 40 w 130"/>
                <a:gd name="T3" fmla="*/ 218 h 218"/>
                <a:gd name="T4" fmla="*/ 120 w 130"/>
                <a:gd name="T5" fmla="*/ 121 h 218"/>
                <a:gd name="T6" fmla="*/ 89 w 130"/>
                <a:gd name="T7" fmla="*/ 0 h 218"/>
                <a:gd name="T8" fmla="*/ 10 w 130"/>
                <a:gd name="T9" fmla="*/ 97 h 218"/>
              </a:gdLst>
              <a:ahLst/>
              <a:cxnLst>
                <a:cxn ang="0">
                  <a:pos x="T0" y="T1"/>
                </a:cxn>
                <a:cxn ang="0">
                  <a:pos x="T2" y="T3"/>
                </a:cxn>
                <a:cxn ang="0">
                  <a:pos x="T4" y="T5"/>
                </a:cxn>
                <a:cxn ang="0">
                  <a:pos x="T6" y="T7"/>
                </a:cxn>
                <a:cxn ang="0">
                  <a:pos x="T8" y="T9"/>
                </a:cxn>
              </a:cxnLst>
              <a:rect l="0" t="0" r="r" b="b"/>
              <a:pathLst>
                <a:path w="130" h="218">
                  <a:moveTo>
                    <a:pt x="10" y="97"/>
                  </a:moveTo>
                  <a:cubicBezTo>
                    <a:pt x="0" y="142"/>
                    <a:pt x="12" y="186"/>
                    <a:pt x="40" y="218"/>
                  </a:cubicBezTo>
                  <a:cubicBezTo>
                    <a:pt x="79" y="201"/>
                    <a:pt x="110" y="166"/>
                    <a:pt x="120" y="121"/>
                  </a:cubicBezTo>
                  <a:cubicBezTo>
                    <a:pt x="130" y="77"/>
                    <a:pt x="117" y="32"/>
                    <a:pt x="89" y="0"/>
                  </a:cubicBezTo>
                  <a:cubicBezTo>
                    <a:pt x="50" y="18"/>
                    <a:pt x="20" y="52"/>
                    <a:pt x="10" y="9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8" name="Freeform 8"/>
            <p:cNvSpPr>
              <a:spLocks noSelect="1"/>
            </p:cNvSpPr>
            <p:nvPr/>
          </p:nvSpPr>
          <p:spPr bwMode="gray">
            <a:xfrm>
              <a:off x="737" y="3996"/>
              <a:ext cx="72" cy="110"/>
            </a:xfrm>
            <a:custGeom>
              <a:avLst/>
              <a:gdLst>
                <a:gd name="T0" fmla="*/ 22 w 190"/>
                <a:gd name="T1" fmla="*/ 120 h 292"/>
                <a:gd name="T2" fmla="*/ 42 w 190"/>
                <a:gd name="T3" fmla="*/ 292 h 292"/>
                <a:gd name="T4" fmla="*/ 168 w 190"/>
                <a:gd name="T5" fmla="*/ 172 h 292"/>
                <a:gd name="T6" fmla="*/ 148 w 190"/>
                <a:gd name="T7" fmla="*/ 0 h 292"/>
                <a:gd name="T8" fmla="*/ 22 w 190"/>
                <a:gd name="T9" fmla="*/ 120 h 292"/>
              </a:gdLst>
              <a:ahLst/>
              <a:cxnLst>
                <a:cxn ang="0">
                  <a:pos x="T0" y="T1"/>
                </a:cxn>
                <a:cxn ang="0">
                  <a:pos x="T2" y="T3"/>
                </a:cxn>
                <a:cxn ang="0">
                  <a:pos x="T4" y="T5"/>
                </a:cxn>
                <a:cxn ang="0">
                  <a:pos x="T6" y="T7"/>
                </a:cxn>
                <a:cxn ang="0">
                  <a:pos x="T8" y="T9"/>
                </a:cxn>
              </a:cxnLst>
              <a:rect l="0" t="0" r="r" b="b"/>
              <a:pathLst>
                <a:path w="190" h="292">
                  <a:moveTo>
                    <a:pt x="22" y="120"/>
                  </a:moveTo>
                  <a:cubicBezTo>
                    <a:pt x="0" y="180"/>
                    <a:pt x="10" y="243"/>
                    <a:pt x="42" y="292"/>
                  </a:cubicBezTo>
                  <a:cubicBezTo>
                    <a:pt x="99" y="275"/>
                    <a:pt x="147" y="232"/>
                    <a:pt x="168" y="172"/>
                  </a:cubicBezTo>
                  <a:cubicBezTo>
                    <a:pt x="190" y="113"/>
                    <a:pt x="180" y="50"/>
                    <a:pt x="148" y="0"/>
                  </a:cubicBezTo>
                  <a:cubicBezTo>
                    <a:pt x="91" y="18"/>
                    <a:pt x="44" y="61"/>
                    <a:pt x="22"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9" name="Freeform 9"/>
            <p:cNvSpPr>
              <a:spLocks noSelect="1"/>
            </p:cNvSpPr>
            <p:nvPr/>
          </p:nvSpPr>
          <p:spPr bwMode="gray">
            <a:xfrm>
              <a:off x="634" y="3982"/>
              <a:ext cx="74" cy="71"/>
            </a:xfrm>
            <a:custGeom>
              <a:avLst/>
              <a:gdLst>
                <a:gd name="T0" fmla="*/ 54 w 196"/>
                <a:gd name="T1" fmla="*/ 139 h 188"/>
                <a:gd name="T2" fmla="*/ 191 w 196"/>
                <a:gd name="T3" fmla="*/ 180 h 188"/>
                <a:gd name="T4" fmla="*/ 142 w 196"/>
                <a:gd name="T5" fmla="*/ 48 h 188"/>
                <a:gd name="T6" fmla="*/ 5 w 196"/>
                <a:gd name="T7" fmla="*/ 8 h 188"/>
                <a:gd name="T8" fmla="*/ 54 w 196"/>
                <a:gd name="T9" fmla="*/ 139 h 188"/>
              </a:gdLst>
              <a:ahLst/>
              <a:cxnLst>
                <a:cxn ang="0">
                  <a:pos x="T0" y="T1"/>
                </a:cxn>
                <a:cxn ang="0">
                  <a:pos x="T2" y="T3"/>
                </a:cxn>
                <a:cxn ang="0">
                  <a:pos x="T4" y="T5"/>
                </a:cxn>
                <a:cxn ang="0">
                  <a:pos x="T6" y="T7"/>
                </a:cxn>
                <a:cxn ang="0">
                  <a:pos x="T8" y="T9"/>
                </a:cxn>
              </a:cxnLst>
              <a:rect l="0" t="0" r="r" b="b"/>
              <a:pathLst>
                <a:path w="196" h="188">
                  <a:moveTo>
                    <a:pt x="54" y="139"/>
                  </a:moveTo>
                  <a:cubicBezTo>
                    <a:pt x="93" y="174"/>
                    <a:pt x="143" y="188"/>
                    <a:pt x="191" y="180"/>
                  </a:cubicBezTo>
                  <a:cubicBezTo>
                    <a:pt x="196" y="132"/>
                    <a:pt x="180" y="83"/>
                    <a:pt x="142" y="48"/>
                  </a:cubicBezTo>
                  <a:cubicBezTo>
                    <a:pt x="103" y="13"/>
                    <a:pt x="53" y="0"/>
                    <a:pt x="5" y="8"/>
                  </a:cubicBezTo>
                  <a:cubicBezTo>
                    <a:pt x="0" y="55"/>
                    <a:pt x="16" y="104"/>
                    <a:pt x="54" y="1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grpSp>
      <p:sp>
        <p:nvSpPr>
          <p:cNvPr id="20" name="Streep (PHJU)"/>
          <p:cNvSpPr>
            <a:spLocks noGrp="1" noSelect="1"/>
          </p:cNvSpPr>
          <p:nvPr>
            <p:ph type="body" idx="1003" hasCustomPrompt="1"/>
          </p:nvPr>
        </p:nvSpPr>
        <p:spPr bwMode="gray">
          <a:xfrm>
            <a:off x="604520" y="2233449"/>
            <a:ext cx="1209040" cy="52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Tree>
    <p:extLst>
      <p:ext uri="{BB962C8B-B14F-4D97-AF65-F5344CB8AC3E}">
        <p14:creationId xmlns:p14="http://schemas.microsoft.com/office/powerpoint/2010/main" val="16186273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XCO">
    <p:spTree>
      <p:nvGrpSpPr>
        <p:cNvPr id="1" name=""/>
        <p:cNvGrpSpPr/>
        <p:nvPr/>
      </p:nvGrpSpPr>
      <p:grpSpPr>
        <a:xfrm>
          <a:off x="0" y="0"/>
          <a:ext cx="0" cy="0"/>
          <a:chOff x="0" y="0"/>
          <a:chExt cx="0" cy="0"/>
        </a:xfrm>
      </p:grpSpPr>
      <p:sp>
        <p:nvSpPr>
          <p:cNvPr id="3" name="***Tijdelijke aanduiding voor inhoud 2 (JU-Free)"/>
          <p:cNvSpPr>
            <a:spLocks noGrp="1"/>
          </p:cNvSpPr>
          <p:nvPr>
            <p:ph type="body" idx="1" hasCustomPrompt="1"/>
          </p:nvPr>
        </p:nvSpPr>
        <p:spPr bwMode="gray">
          <a:xfrm>
            <a:off x="609458" y="2175092"/>
            <a:ext cx="6487200" cy="6177600"/>
          </a:xfrm>
        </p:spPr>
        <p:txBody>
          <a:bodyPr/>
          <a:lstStyle>
            <a:lvl1pPr marL="30600" indent="0">
              <a:buFontTx/>
              <a:buNone/>
              <a:defRPr sz="1275"/>
            </a:lvl1pPr>
            <a:lvl2pPr marL="30600" indent="0">
              <a:buFontTx/>
              <a:buNone/>
              <a:defRPr sz="1360"/>
            </a:lvl2pPr>
            <a:lvl3pPr marL="30600" indent="0">
              <a:buFontTx/>
              <a:buNone/>
              <a:defRPr sz="1360"/>
            </a:lvl3pPr>
            <a:lvl4pPr marL="30600">
              <a:buFontTx/>
              <a:buNone/>
              <a:defRPr sz="1360"/>
            </a:lvl4pPr>
            <a:lvl5pPr marL="30600">
              <a:buFontTx/>
              <a:buNone/>
              <a:defRPr sz="1360"/>
            </a:lvl5pPr>
            <a:lvl6pPr marL="30600">
              <a:buFontTx/>
              <a:buNone/>
              <a:defRPr sz="1360"/>
            </a:lvl6pPr>
            <a:lvl7pPr marL="30600">
              <a:buFontTx/>
              <a:buNone/>
              <a:defRPr sz="1360"/>
            </a:lvl7pPr>
            <a:lvl8pPr marL="30600">
              <a:buFontTx/>
              <a:buNone/>
              <a:defRPr sz="1360"/>
            </a:lvl8pPr>
            <a:lvl9pPr marL="30600">
              <a:buFontTx/>
              <a:buNone/>
              <a:defRPr sz="1360"/>
            </a:lvl9pPr>
          </a:lstStyle>
          <a:p>
            <a:pPr lvl="0"/>
            <a:r>
              <a:rPr lang="en-GB" noProof="1"/>
              <a:t>[Tekst]</a:t>
            </a:r>
          </a:p>
        </p:txBody>
      </p:sp>
      <p:sp>
        <p:nvSpPr>
          <p:cNvPr id="2" name="***Titel 1"/>
          <p:cNvSpPr>
            <a:spLocks noGrp="1" noSelect="1"/>
          </p:cNvSpPr>
          <p:nvPr>
            <p:ph type="title" hasCustomPrompt="1"/>
          </p:nvPr>
        </p:nvSpPr>
        <p:spPr bwMode="gray">
          <a:xfrm>
            <a:off x="600474" y="747922"/>
            <a:ext cx="6487200" cy="1214400"/>
          </a:xfrm>
        </p:spPr>
        <p:txBody>
          <a:bodyPr/>
          <a:lstStyle>
            <a:lvl1pPr>
              <a:lnSpc>
                <a:spcPct val="95000"/>
              </a:lnSpc>
              <a:defRPr sz="1530"/>
            </a:lvl1pPr>
          </a:lstStyle>
          <a:p>
            <a:r>
              <a:rPr lang="en-GB" noProof="1"/>
              <a:t>[Title (max 3 lines)]</a:t>
            </a:r>
          </a:p>
        </p:txBody>
      </p:sp>
      <p:sp>
        <p:nvSpPr>
          <p:cNvPr id="13" name="Tijdelijke aanduiding voor voettekst 12"/>
          <p:cNvSpPr>
            <a:spLocks noGrp="1" noSelect="1"/>
          </p:cNvSpPr>
          <p:nvPr>
            <p:ph type="ftr" sz="quarter" idx="10"/>
          </p:nvPr>
        </p:nvSpPr>
        <p:spPr bwMode="gray"/>
        <p:txBody>
          <a:bodyPr/>
          <a:lstStyle/>
          <a:p>
            <a:endParaRPr lang="en-US"/>
          </a:p>
        </p:txBody>
      </p:sp>
      <p:sp>
        <p:nvSpPr>
          <p:cNvPr id="14" name="Tijdelijke aanduiding voor dianummer 13"/>
          <p:cNvSpPr>
            <a:spLocks noGrp="1" noSelect="1"/>
          </p:cNvSpPr>
          <p:nvPr>
            <p:ph type="sldNum" sz="quarter" idx="11"/>
          </p:nvPr>
        </p:nvSpPr>
        <p:spPr bwMode="gray"/>
        <p:txBody>
          <a:bodyPr/>
          <a:lstStyle/>
          <a:p>
            <a:fld id="{ADECF1AC-24A7-42A4-9FAC-3CE63B9FFA68}" type="slidenum">
              <a:rPr lang="en-US" smtClean="0"/>
              <a:t>‹#›</a:t>
            </a:fld>
            <a:endParaRPr lang="en-US"/>
          </a:p>
        </p:txBody>
      </p:sp>
      <p:sp>
        <p:nvSpPr>
          <p:cNvPr id="10" name="Tijdelijke aanduiding voor voetnoottekst 5"/>
          <p:cNvSpPr>
            <a:spLocks noGrp="1" noSelect="1"/>
          </p:cNvSpPr>
          <p:nvPr>
            <p:ph type="body" sz="quarter" idx="12" hasCustomPrompt="1"/>
          </p:nvPr>
        </p:nvSpPr>
        <p:spPr bwMode="gray">
          <a:xfrm>
            <a:off x="611999" y="8378116"/>
            <a:ext cx="6487200" cy="950400"/>
          </a:xfrm>
        </p:spPr>
        <p:txBody>
          <a:bodyPr/>
          <a:lstStyle>
            <a:lvl1pPr marL="107100" indent="-107100">
              <a:spcBef>
                <a:spcPts val="0"/>
              </a:spcBef>
              <a:spcAft>
                <a:spcPts val="0"/>
              </a:spcAft>
              <a:buFont typeface="Corbel" panose="020B0503020204020204" pitchFamily="34" charset="0"/>
              <a:buChar char="*"/>
              <a:defRPr sz="1020" b="0"/>
            </a:lvl1pPr>
            <a:lvl2pPr marL="107100" indent="-107100">
              <a:spcBef>
                <a:spcPts val="0"/>
              </a:spcBef>
              <a:spcAft>
                <a:spcPts val="0"/>
              </a:spcAft>
              <a:buFont typeface="Corbel" panose="020B0503020204020204" pitchFamily="34" charset="0"/>
              <a:buChar char="*"/>
              <a:defRPr sz="1020" b="0"/>
            </a:lvl2pPr>
            <a:lvl3pPr marL="107100" indent="-107100">
              <a:spcBef>
                <a:spcPts val="0"/>
              </a:spcBef>
              <a:spcAft>
                <a:spcPts val="0"/>
              </a:spcAft>
              <a:buFont typeface="Corbel" panose="020B0503020204020204" pitchFamily="34" charset="0"/>
              <a:buChar char="*"/>
              <a:defRPr sz="1020" b="0"/>
            </a:lvl3pPr>
            <a:lvl4pPr marL="107100" indent="-107100">
              <a:spcBef>
                <a:spcPts val="0"/>
              </a:spcBef>
              <a:spcAft>
                <a:spcPts val="0"/>
              </a:spcAft>
              <a:buFont typeface="Corbel" panose="020B0503020204020204" pitchFamily="34" charset="0"/>
              <a:buChar char="*"/>
              <a:defRPr sz="1020" b="0"/>
            </a:lvl4pPr>
            <a:lvl5pPr marL="107100" indent="-107100">
              <a:spcBef>
                <a:spcPts val="0"/>
              </a:spcBef>
              <a:spcAft>
                <a:spcPts val="0"/>
              </a:spcAft>
              <a:buFont typeface="Corbel" panose="020B0503020204020204" pitchFamily="34" charset="0"/>
              <a:buChar char="*"/>
              <a:defRPr sz="1020" b="0"/>
            </a:lvl5pPr>
            <a:lvl6pPr marL="107100" indent="-107100">
              <a:spcBef>
                <a:spcPts val="0"/>
              </a:spcBef>
              <a:spcAft>
                <a:spcPts val="0"/>
              </a:spcAft>
              <a:buFont typeface="Corbel" panose="020B0503020204020204" pitchFamily="34" charset="0"/>
              <a:buChar char="*"/>
              <a:defRPr sz="1020" b="0"/>
            </a:lvl6pPr>
            <a:lvl7pPr marL="107100" indent="-107100">
              <a:spcBef>
                <a:spcPts val="0"/>
              </a:spcBef>
              <a:spcAft>
                <a:spcPts val="0"/>
              </a:spcAft>
              <a:buFont typeface="Corbel" panose="020B0503020204020204" pitchFamily="34" charset="0"/>
              <a:buChar char="*"/>
              <a:defRPr sz="1020" b="0"/>
            </a:lvl7pPr>
            <a:lvl8pPr marL="107100" indent="-107100">
              <a:spcBef>
                <a:spcPts val="0"/>
              </a:spcBef>
              <a:spcAft>
                <a:spcPts val="0"/>
              </a:spcAft>
              <a:buFont typeface="Corbel" panose="020B0503020204020204" pitchFamily="34" charset="0"/>
              <a:buChar char="*"/>
              <a:defRPr sz="1020" b="0"/>
            </a:lvl8pPr>
            <a:lvl9pPr marL="107100" indent="-107100">
              <a:spcBef>
                <a:spcPts val="0"/>
              </a:spcBef>
              <a:spcAft>
                <a:spcPts val="0"/>
              </a:spcAft>
              <a:buFont typeface="Corbel" panose="020B0503020204020204" pitchFamily="34" charset="0"/>
              <a:buChar char="*"/>
              <a:defRPr sz="1020" b="0"/>
            </a:lvl9pPr>
          </a:lstStyle>
          <a:p>
            <a:pPr lvl="0"/>
            <a:r>
              <a:rPr lang="en-GB"/>
              <a:t>[Footnote]</a:t>
            </a:r>
          </a:p>
        </p:txBody>
      </p:sp>
    </p:spTree>
    <p:extLst>
      <p:ext uri="{BB962C8B-B14F-4D97-AF65-F5344CB8AC3E}">
        <p14:creationId xmlns:p14="http://schemas.microsoft.com/office/powerpoint/2010/main" val="729086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two lines) and content">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lvl1pPr>
              <a:defRPr/>
            </a:lvl1pPr>
          </a:lstStyle>
          <a:p>
            <a:br>
              <a:rPr lang="en-GB" noProof="1"/>
            </a:br>
            <a:br>
              <a:rPr lang="en-GB" noProof="1"/>
            </a:br>
            <a:r>
              <a:rPr lang="en-GB" noProof="1"/>
              <a:t>[Title]</a:t>
            </a:r>
            <a:br>
              <a:rPr lang="en-GB" noProof="1"/>
            </a:br>
            <a:r>
              <a:rPr lang="en-GB" noProof="1"/>
              <a:t>[second line]</a:t>
            </a:r>
          </a:p>
        </p:txBody>
      </p:sp>
      <p:sp>
        <p:nvSpPr>
          <p:cNvPr id="3" name="Tijdelijke aanduiding voor inhoud 2"/>
          <p:cNvSpPr>
            <a:spLocks noGrp="1" noSelect="1"/>
          </p:cNvSpPr>
          <p:nvPr>
            <p:ph idx="1" hasCustomPrompt="1"/>
          </p:nvPr>
        </p:nvSpPr>
        <p:spPr bwMode="gray">
          <a:xfrm>
            <a:off x="612000" y="2692800"/>
            <a:ext cx="6487200" cy="5280000"/>
          </a:xfrm>
        </p:spPr>
        <p:txBody>
          <a:bodyPr/>
          <a:lstStyle>
            <a:lvl1pPr>
              <a:defRPr/>
            </a:lvl1pPr>
          </a:lstStyle>
          <a:p>
            <a:pPr lvl="0"/>
            <a:r>
              <a:rPr lang="en-GB" noProof="1"/>
              <a:t>[Type text or click on icon to insert an object]</a:t>
            </a:r>
          </a:p>
        </p:txBody>
      </p:sp>
      <p:sp>
        <p:nvSpPr>
          <p:cNvPr id="13" name="Tijdelijke aanduiding voor voettekst 12"/>
          <p:cNvSpPr>
            <a:spLocks noGrp="1" noSelect="1"/>
          </p:cNvSpPr>
          <p:nvPr>
            <p:ph type="ftr" sz="quarter" idx="10"/>
          </p:nvPr>
        </p:nvSpPr>
        <p:spPr bwMode="gray"/>
        <p:txBody>
          <a:bodyPr/>
          <a:lstStyle/>
          <a:p>
            <a:endParaRPr lang="en-US"/>
          </a:p>
        </p:txBody>
      </p:sp>
      <p:sp>
        <p:nvSpPr>
          <p:cNvPr id="14" name="Tijdelijke aanduiding voor dianummer 13"/>
          <p:cNvSpPr>
            <a:spLocks noGrp="1" noSelect="1"/>
          </p:cNvSpPr>
          <p:nvPr>
            <p:ph type="sldNum" sz="quarter" idx="11"/>
          </p:nvPr>
        </p:nvSpPr>
        <p:spPr bwMode="gray"/>
        <p:txBody>
          <a:bodyPr/>
          <a:lstStyle/>
          <a:p>
            <a:fld id="{ADECF1AC-24A7-42A4-9FAC-3CE63B9FFA68}" type="slidenum">
              <a:rPr lang="en-US" smtClean="0"/>
              <a:t>‹#›</a:t>
            </a:fld>
            <a:endParaRPr lang="en-US"/>
          </a:p>
        </p:txBody>
      </p:sp>
      <p:sp>
        <p:nvSpPr>
          <p:cNvPr id="8" name="Tijdelijke aanduiding voor tekst 5"/>
          <p:cNvSpPr>
            <a:spLocks noGrp="1" noSelect="1"/>
          </p:cNvSpPr>
          <p:nvPr>
            <p:ph type="body" sz="quarter" idx="12" hasCustomPrompt="1"/>
          </p:nvPr>
        </p:nvSpPr>
        <p:spPr bwMode="gray">
          <a:xfrm>
            <a:off x="612000" y="8308266"/>
            <a:ext cx="6486446" cy="580800"/>
          </a:xfrm>
        </p:spPr>
        <p:txBody>
          <a:bodyPr/>
          <a:lstStyle>
            <a:lvl1pPr marL="107100" indent="-107100">
              <a:spcBef>
                <a:spcPts val="0"/>
              </a:spcBef>
              <a:spcAft>
                <a:spcPts val="0"/>
              </a:spcAft>
              <a:buFont typeface="Corbel" panose="020B0503020204020204" pitchFamily="34" charset="0"/>
              <a:buChar char="*"/>
              <a:defRPr sz="1020" b="0"/>
            </a:lvl1pPr>
            <a:lvl2pPr marL="107100" indent="-107100">
              <a:spcBef>
                <a:spcPts val="0"/>
              </a:spcBef>
              <a:spcAft>
                <a:spcPts val="0"/>
              </a:spcAft>
              <a:buFont typeface="Corbel" panose="020B0503020204020204" pitchFamily="34" charset="0"/>
              <a:buChar char="*"/>
              <a:defRPr sz="1020" b="0"/>
            </a:lvl2pPr>
            <a:lvl3pPr marL="107100" indent="-107100">
              <a:spcBef>
                <a:spcPts val="0"/>
              </a:spcBef>
              <a:spcAft>
                <a:spcPts val="0"/>
              </a:spcAft>
              <a:buFont typeface="Corbel" panose="020B0503020204020204" pitchFamily="34" charset="0"/>
              <a:buChar char="*"/>
              <a:defRPr sz="1020" b="0"/>
            </a:lvl3pPr>
            <a:lvl4pPr marL="107100" indent="-107100">
              <a:spcBef>
                <a:spcPts val="0"/>
              </a:spcBef>
              <a:spcAft>
                <a:spcPts val="0"/>
              </a:spcAft>
              <a:buFont typeface="Corbel" panose="020B0503020204020204" pitchFamily="34" charset="0"/>
              <a:buChar char="*"/>
              <a:defRPr sz="1020" b="0"/>
            </a:lvl4pPr>
            <a:lvl5pPr marL="107100" indent="-107100">
              <a:spcBef>
                <a:spcPts val="0"/>
              </a:spcBef>
              <a:spcAft>
                <a:spcPts val="0"/>
              </a:spcAft>
              <a:buFont typeface="Corbel" panose="020B0503020204020204" pitchFamily="34" charset="0"/>
              <a:buChar char="*"/>
              <a:defRPr sz="1020" b="0"/>
            </a:lvl5pPr>
            <a:lvl6pPr marL="107100" indent="-107100">
              <a:spcBef>
                <a:spcPts val="0"/>
              </a:spcBef>
              <a:spcAft>
                <a:spcPts val="0"/>
              </a:spcAft>
              <a:buFont typeface="Corbel" panose="020B0503020204020204" pitchFamily="34" charset="0"/>
              <a:buChar char="*"/>
              <a:defRPr sz="1020" b="0"/>
            </a:lvl6pPr>
            <a:lvl7pPr marL="107100" indent="-107100">
              <a:spcBef>
                <a:spcPts val="0"/>
              </a:spcBef>
              <a:spcAft>
                <a:spcPts val="0"/>
              </a:spcAft>
              <a:buFont typeface="Corbel" panose="020B0503020204020204" pitchFamily="34" charset="0"/>
              <a:buChar char="*"/>
              <a:defRPr sz="1020" b="0"/>
            </a:lvl7pPr>
            <a:lvl8pPr marL="107100" indent="-107100">
              <a:spcBef>
                <a:spcPts val="0"/>
              </a:spcBef>
              <a:spcAft>
                <a:spcPts val="0"/>
              </a:spcAft>
              <a:buFont typeface="Corbel" panose="020B0503020204020204" pitchFamily="34" charset="0"/>
              <a:buChar char="*"/>
              <a:defRPr sz="1020" b="0"/>
            </a:lvl8pPr>
            <a:lvl9pPr marL="107100" indent="-107100">
              <a:spcBef>
                <a:spcPts val="0"/>
              </a:spcBef>
              <a:spcAft>
                <a:spcPts val="0"/>
              </a:spcAft>
              <a:buFont typeface="Corbel" panose="020B0503020204020204" pitchFamily="34" charset="0"/>
              <a:buChar char="*"/>
              <a:defRPr sz="1020" b="0"/>
            </a:lvl9pPr>
          </a:lstStyle>
          <a:p>
            <a:pPr lvl="0"/>
            <a:r>
              <a:rPr lang="en-GB"/>
              <a:t>[Footnote]</a:t>
            </a:r>
          </a:p>
        </p:txBody>
      </p:sp>
      <p:sp>
        <p:nvSpPr>
          <p:cNvPr id="10" name="Streep (PHJU)"/>
          <p:cNvSpPr>
            <a:spLocks noGrp="1" noSelect="1"/>
          </p:cNvSpPr>
          <p:nvPr>
            <p:ph type="body" idx="1002" hasCustomPrompt="1"/>
          </p:nvPr>
        </p:nvSpPr>
        <p:spPr bwMode="gray">
          <a:xfrm>
            <a:off x="604520" y="2233449"/>
            <a:ext cx="1209040" cy="528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Tree>
    <p:extLst>
      <p:ext uri="{BB962C8B-B14F-4D97-AF65-F5344CB8AC3E}">
        <p14:creationId xmlns:p14="http://schemas.microsoft.com/office/powerpoint/2010/main" val="32072497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lvl1pPr>
              <a:defRPr/>
            </a:lvl1pPr>
          </a:lstStyle>
          <a:p>
            <a:r>
              <a:rPr lang="en-GB" noProof="1"/>
              <a:t>[Title]</a:t>
            </a:r>
          </a:p>
        </p:txBody>
      </p:sp>
      <p:sp>
        <p:nvSpPr>
          <p:cNvPr id="12" name="Tijdelijke aanduiding voor voettekst 11"/>
          <p:cNvSpPr>
            <a:spLocks noGrp="1" noSelect="1"/>
          </p:cNvSpPr>
          <p:nvPr>
            <p:ph type="ftr" sz="quarter" idx="10"/>
          </p:nvPr>
        </p:nvSpPr>
        <p:spPr bwMode="gray"/>
        <p:txBody>
          <a:bodyPr/>
          <a:lstStyle/>
          <a:p>
            <a:endParaRPr lang="en-US"/>
          </a:p>
        </p:txBody>
      </p:sp>
      <p:sp>
        <p:nvSpPr>
          <p:cNvPr id="13" name="Tijdelijke aanduiding voor dianummer 12"/>
          <p:cNvSpPr>
            <a:spLocks noGrp="1" noSelect="1"/>
          </p:cNvSpPr>
          <p:nvPr>
            <p:ph type="sldNum" sz="quarter" idx="11"/>
          </p:nvPr>
        </p:nvSpPr>
        <p:spPr bwMode="gray"/>
        <p:txBody>
          <a:bodyPr/>
          <a:lstStyle/>
          <a:p>
            <a:fld id="{ADECF1AC-24A7-42A4-9FAC-3CE63B9FFA68}" type="slidenum">
              <a:rPr lang="en-US" smtClean="0"/>
              <a:t>‹#›</a:t>
            </a:fld>
            <a:endParaRPr lang="en-US"/>
          </a:p>
        </p:txBody>
      </p:sp>
      <p:sp>
        <p:nvSpPr>
          <p:cNvPr id="7" name="Streep (PHJU)"/>
          <p:cNvSpPr>
            <a:spLocks noGrp="1" noSelect="1"/>
          </p:cNvSpPr>
          <p:nvPr>
            <p:ph type="body" idx="1004" hasCustomPrompt="1"/>
          </p:nvPr>
        </p:nvSpPr>
        <p:spPr bwMode="gray">
          <a:xfrm>
            <a:off x="604656" y="2233440"/>
            <a:ext cx="1209006" cy="52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Tree>
    <p:extLst>
      <p:ext uri="{BB962C8B-B14F-4D97-AF65-F5344CB8AC3E}">
        <p14:creationId xmlns:p14="http://schemas.microsoft.com/office/powerpoint/2010/main" val="35798598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Empty">
    <p:spTree>
      <p:nvGrpSpPr>
        <p:cNvPr id="1" name=""/>
        <p:cNvGrpSpPr/>
        <p:nvPr/>
      </p:nvGrpSpPr>
      <p:grpSpPr>
        <a:xfrm>
          <a:off x="0" y="0"/>
          <a:ext cx="0" cy="0"/>
          <a:chOff x="0" y="0"/>
          <a:chExt cx="0" cy="0"/>
        </a:xfrm>
      </p:grpSpPr>
      <p:sp>
        <p:nvSpPr>
          <p:cNvPr id="5" name="Tijdelijke aanduiding voor voettekst 4"/>
          <p:cNvSpPr>
            <a:spLocks noGrp="1" noSelect="1"/>
          </p:cNvSpPr>
          <p:nvPr>
            <p:ph type="ftr" sz="quarter" idx="10"/>
          </p:nvPr>
        </p:nvSpPr>
        <p:spPr bwMode="gray"/>
        <p:txBody>
          <a:bodyPr/>
          <a:lstStyle/>
          <a:p>
            <a:endParaRPr lang="en-US"/>
          </a:p>
        </p:txBody>
      </p:sp>
      <p:sp>
        <p:nvSpPr>
          <p:cNvPr id="6" name="Tijdelijke aanduiding voor dianummer 5"/>
          <p:cNvSpPr>
            <a:spLocks noGrp="1" noSelect="1"/>
          </p:cNvSpPr>
          <p:nvPr>
            <p:ph type="sldNum" sz="quarter" idx="11"/>
          </p:nvPr>
        </p:nvSpPr>
        <p:spPr bwMode="gray"/>
        <p:txBody>
          <a:bodyPr/>
          <a:lstStyle/>
          <a:p>
            <a:fld id="{ADECF1AC-24A7-42A4-9FAC-3CE63B9FFA68}" type="slidenum">
              <a:rPr lang="en-US" smtClean="0"/>
              <a:t>‹#›</a:t>
            </a:fld>
            <a:endParaRPr lang="en-US"/>
          </a:p>
        </p:txBody>
      </p:sp>
      <p:grpSp>
        <p:nvGrpSpPr>
          <p:cNvPr id="11" name="Group 4"/>
          <p:cNvGrpSpPr>
            <a:grpSpLocks noSelect="1" noChangeAspect="1"/>
          </p:cNvGrpSpPr>
          <p:nvPr/>
        </p:nvGrpSpPr>
        <p:grpSpPr bwMode="gray">
          <a:xfrm>
            <a:off x="636480" y="9472321"/>
            <a:ext cx="1211760" cy="388307"/>
            <a:chOff x="634" y="3938"/>
            <a:chExt cx="1190" cy="221"/>
          </a:xfrm>
        </p:grpSpPr>
        <p:sp>
          <p:nvSpPr>
            <p:cNvPr id="12" name="Freeform 5"/>
            <p:cNvSpPr>
              <a:spLocks noSelect="1"/>
            </p:cNvSpPr>
            <p:nvPr/>
          </p:nvSpPr>
          <p:spPr bwMode="gray">
            <a:xfrm>
              <a:off x="845" y="3995"/>
              <a:ext cx="979" cy="122"/>
            </a:xfrm>
            <a:custGeom>
              <a:avLst/>
              <a:gdLst>
                <a:gd name="T0" fmla="*/ 1067 w 2611"/>
                <a:gd name="T1" fmla="*/ 265 h 324"/>
                <a:gd name="T2" fmla="*/ 936 w 2611"/>
                <a:gd name="T3" fmla="*/ 297 h 324"/>
                <a:gd name="T4" fmla="*/ 1080 w 2611"/>
                <a:gd name="T5" fmla="*/ 166 h 324"/>
                <a:gd name="T6" fmla="*/ 1029 w 2611"/>
                <a:gd name="T7" fmla="*/ 165 h 324"/>
                <a:gd name="T8" fmla="*/ 994 w 2611"/>
                <a:gd name="T9" fmla="*/ 198 h 324"/>
                <a:gd name="T10" fmla="*/ 2292 w 2611"/>
                <a:gd name="T11" fmla="*/ 265 h 324"/>
                <a:gd name="T12" fmla="*/ 2161 w 2611"/>
                <a:gd name="T13" fmla="*/ 297 h 324"/>
                <a:gd name="T14" fmla="*/ 2305 w 2611"/>
                <a:gd name="T15" fmla="*/ 166 h 324"/>
                <a:gd name="T16" fmla="*/ 2254 w 2611"/>
                <a:gd name="T17" fmla="*/ 165 h 324"/>
                <a:gd name="T18" fmla="*/ 2219 w 2611"/>
                <a:gd name="T19" fmla="*/ 198 h 324"/>
                <a:gd name="T20" fmla="*/ 2598 w 2611"/>
                <a:gd name="T21" fmla="*/ 265 h 324"/>
                <a:gd name="T22" fmla="*/ 2466 w 2611"/>
                <a:gd name="T23" fmla="*/ 297 h 324"/>
                <a:gd name="T24" fmla="*/ 2611 w 2611"/>
                <a:gd name="T25" fmla="*/ 166 h 324"/>
                <a:gd name="T26" fmla="*/ 2560 w 2611"/>
                <a:gd name="T27" fmla="*/ 165 h 324"/>
                <a:gd name="T28" fmla="*/ 2525 w 2611"/>
                <a:gd name="T29" fmla="*/ 198 h 324"/>
                <a:gd name="T30" fmla="*/ 1611 w 2611"/>
                <a:gd name="T31" fmla="*/ 208 h 324"/>
                <a:gd name="T32" fmla="*/ 1516 w 2611"/>
                <a:gd name="T33" fmla="*/ 136 h 324"/>
                <a:gd name="T34" fmla="*/ 1640 w 2611"/>
                <a:gd name="T35" fmla="*/ 208 h 324"/>
                <a:gd name="T36" fmla="*/ 1735 w 2611"/>
                <a:gd name="T37" fmla="*/ 279 h 324"/>
                <a:gd name="T38" fmla="*/ 1735 w 2611"/>
                <a:gd name="T39" fmla="*/ 279 h 324"/>
                <a:gd name="T40" fmla="*/ 119 w 2611"/>
                <a:gd name="T41" fmla="*/ 247 h 324"/>
                <a:gd name="T42" fmla="*/ 0 w 2611"/>
                <a:gd name="T43" fmla="*/ 13 h 324"/>
                <a:gd name="T44" fmla="*/ 151 w 2611"/>
                <a:gd name="T45" fmla="*/ 312 h 324"/>
                <a:gd name="T46" fmla="*/ 840 w 2611"/>
                <a:gd name="T47" fmla="*/ 1 h 324"/>
                <a:gd name="T48" fmla="*/ 766 w 2611"/>
                <a:gd name="T49" fmla="*/ 91 h 324"/>
                <a:gd name="T50" fmla="*/ 760 w 2611"/>
                <a:gd name="T51" fmla="*/ 323 h 324"/>
                <a:gd name="T52" fmla="*/ 888 w 2611"/>
                <a:gd name="T53" fmla="*/ 295 h 324"/>
                <a:gd name="T54" fmla="*/ 864 w 2611"/>
                <a:gd name="T55" fmla="*/ 264 h 324"/>
                <a:gd name="T56" fmla="*/ 738 w 2611"/>
                <a:gd name="T57" fmla="*/ 206 h 324"/>
                <a:gd name="T58" fmla="*/ 810 w 2611"/>
                <a:gd name="T59" fmla="*/ 213 h 324"/>
                <a:gd name="T60" fmla="*/ 642 w 2611"/>
                <a:gd name="T61" fmla="*/ 281 h 324"/>
                <a:gd name="T62" fmla="*/ 523 w 2611"/>
                <a:gd name="T63" fmla="*/ 115 h 324"/>
                <a:gd name="T64" fmla="*/ 470 w 2611"/>
                <a:gd name="T65" fmla="*/ 150 h 324"/>
                <a:gd name="T66" fmla="*/ 525 w 2611"/>
                <a:gd name="T67" fmla="*/ 316 h 324"/>
                <a:gd name="T68" fmla="*/ 557 w 2611"/>
                <a:gd name="T69" fmla="*/ 138 h 324"/>
                <a:gd name="T70" fmla="*/ 624 w 2611"/>
                <a:gd name="T71" fmla="*/ 322 h 324"/>
                <a:gd name="T72" fmla="*/ 1394 w 2611"/>
                <a:gd name="T73" fmla="*/ 283 h 324"/>
                <a:gd name="T74" fmla="*/ 1315 w 2611"/>
                <a:gd name="T75" fmla="*/ 94 h 324"/>
                <a:gd name="T76" fmla="*/ 1166 w 2611"/>
                <a:gd name="T77" fmla="*/ 117 h 324"/>
                <a:gd name="T78" fmla="*/ 1113 w 2611"/>
                <a:gd name="T79" fmla="*/ 299 h 324"/>
                <a:gd name="T80" fmla="*/ 1195 w 2611"/>
                <a:gd name="T81" fmla="*/ 140 h 324"/>
                <a:gd name="T82" fmla="*/ 1245 w 2611"/>
                <a:gd name="T83" fmla="*/ 322 h 324"/>
                <a:gd name="T84" fmla="*/ 1318 w 2611"/>
                <a:gd name="T85" fmla="*/ 147 h 324"/>
                <a:gd name="T86" fmla="*/ 1367 w 2611"/>
                <a:gd name="T87" fmla="*/ 322 h 324"/>
                <a:gd name="T88" fmla="*/ 1889 w 2611"/>
                <a:gd name="T89" fmla="*/ 322 h 324"/>
                <a:gd name="T90" fmla="*/ 1971 w 2611"/>
                <a:gd name="T91" fmla="*/ 146 h 324"/>
                <a:gd name="T92" fmla="*/ 1915 w 2611"/>
                <a:gd name="T93" fmla="*/ 110 h 324"/>
                <a:gd name="T94" fmla="*/ 1864 w 2611"/>
                <a:gd name="T95" fmla="*/ 299 h 324"/>
                <a:gd name="T96" fmla="*/ 2079 w 2611"/>
                <a:gd name="T97" fmla="*/ 277 h 324"/>
                <a:gd name="T98" fmla="*/ 2112 w 2611"/>
                <a:gd name="T99" fmla="*/ 114 h 324"/>
                <a:gd name="T100" fmla="*/ 2038 w 2611"/>
                <a:gd name="T101" fmla="*/ 46 h 324"/>
                <a:gd name="T102" fmla="*/ 2064 w 2611"/>
                <a:gd name="T103" fmla="*/ 323 h 324"/>
                <a:gd name="T104" fmla="*/ 2379 w 2611"/>
                <a:gd name="T105" fmla="*/ 323 h 324"/>
                <a:gd name="T106" fmla="*/ 2397 w 2611"/>
                <a:gd name="T107" fmla="*/ 281 h 324"/>
                <a:gd name="T108" fmla="*/ 2369 w 2611"/>
                <a:gd name="T109" fmla="*/ 1 h 324"/>
                <a:gd name="T110" fmla="*/ 385 w 2611"/>
                <a:gd name="T111" fmla="*/ 96 h 324"/>
                <a:gd name="T112" fmla="*/ 232 w 2611"/>
                <a:gd name="T113" fmla="*/ 202 h 324"/>
                <a:gd name="T114" fmla="*/ 370 w 2611"/>
                <a:gd name="T115" fmla="*/ 310 h 324"/>
                <a:gd name="T116" fmla="*/ 426 w 2611"/>
                <a:gd name="T117" fmla="*/ 283 h 324"/>
                <a:gd name="T118" fmla="*/ 385 w 2611"/>
                <a:gd name="T119" fmla="*/ 96 h 324"/>
                <a:gd name="T120" fmla="*/ 323 w 2611"/>
                <a:gd name="T121" fmla="*/ 137 h 324"/>
                <a:gd name="T122" fmla="*/ 323 w 2611"/>
                <a:gd name="T123" fmla="*/ 277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11" h="324">
                  <a:moveTo>
                    <a:pt x="961" y="232"/>
                  </a:moveTo>
                  <a:cubicBezTo>
                    <a:pt x="966" y="262"/>
                    <a:pt x="982" y="279"/>
                    <a:pt x="1010" y="279"/>
                  </a:cubicBezTo>
                  <a:cubicBezTo>
                    <a:pt x="1026" y="279"/>
                    <a:pt x="1042" y="274"/>
                    <a:pt x="1054" y="270"/>
                  </a:cubicBezTo>
                  <a:cubicBezTo>
                    <a:pt x="1060" y="268"/>
                    <a:pt x="1067" y="265"/>
                    <a:pt x="1067" y="265"/>
                  </a:cubicBezTo>
                  <a:cubicBezTo>
                    <a:pt x="1067" y="265"/>
                    <a:pt x="1074" y="274"/>
                    <a:pt x="1074" y="282"/>
                  </a:cubicBezTo>
                  <a:cubicBezTo>
                    <a:pt x="1075" y="292"/>
                    <a:pt x="1073" y="300"/>
                    <a:pt x="1064" y="307"/>
                  </a:cubicBezTo>
                  <a:cubicBezTo>
                    <a:pt x="1051" y="318"/>
                    <a:pt x="1028" y="324"/>
                    <a:pt x="1005" y="324"/>
                  </a:cubicBezTo>
                  <a:cubicBezTo>
                    <a:pt x="975" y="324"/>
                    <a:pt x="952" y="315"/>
                    <a:pt x="936" y="297"/>
                  </a:cubicBezTo>
                  <a:cubicBezTo>
                    <a:pt x="916" y="276"/>
                    <a:pt x="907" y="244"/>
                    <a:pt x="907" y="201"/>
                  </a:cubicBezTo>
                  <a:cubicBezTo>
                    <a:pt x="909" y="130"/>
                    <a:pt x="940" y="91"/>
                    <a:pt x="995" y="91"/>
                  </a:cubicBezTo>
                  <a:cubicBezTo>
                    <a:pt x="1025" y="91"/>
                    <a:pt x="1049" y="98"/>
                    <a:pt x="1064" y="114"/>
                  </a:cubicBezTo>
                  <a:cubicBezTo>
                    <a:pt x="1076" y="127"/>
                    <a:pt x="1080" y="145"/>
                    <a:pt x="1080" y="166"/>
                  </a:cubicBezTo>
                  <a:cubicBezTo>
                    <a:pt x="1078" y="210"/>
                    <a:pt x="1045" y="234"/>
                    <a:pt x="997" y="234"/>
                  </a:cubicBezTo>
                  <a:cubicBezTo>
                    <a:pt x="985" y="234"/>
                    <a:pt x="974" y="233"/>
                    <a:pt x="961" y="232"/>
                  </a:cubicBezTo>
                  <a:moveTo>
                    <a:pt x="994" y="198"/>
                  </a:moveTo>
                  <a:cubicBezTo>
                    <a:pt x="1018" y="198"/>
                    <a:pt x="1029" y="187"/>
                    <a:pt x="1029" y="165"/>
                  </a:cubicBezTo>
                  <a:cubicBezTo>
                    <a:pt x="1030" y="154"/>
                    <a:pt x="1027" y="144"/>
                    <a:pt x="1022" y="139"/>
                  </a:cubicBezTo>
                  <a:cubicBezTo>
                    <a:pt x="1017" y="133"/>
                    <a:pt x="1010" y="130"/>
                    <a:pt x="1000" y="130"/>
                  </a:cubicBezTo>
                  <a:cubicBezTo>
                    <a:pt x="974" y="130"/>
                    <a:pt x="962" y="153"/>
                    <a:pt x="961" y="197"/>
                  </a:cubicBezTo>
                  <a:cubicBezTo>
                    <a:pt x="975" y="198"/>
                    <a:pt x="982" y="198"/>
                    <a:pt x="994" y="198"/>
                  </a:cubicBezTo>
                  <a:moveTo>
                    <a:pt x="2186" y="232"/>
                  </a:moveTo>
                  <a:cubicBezTo>
                    <a:pt x="2191" y="262"/>
                    <a:pt x="2207" y="279"/>
                    <a:pt x="2235" y="279"/>
                  </a:cubicBezTo>
                  <a:cubicBezTo>
                    <a:pt x="2251" y="279"/>
                    <a:pt x="2267" y="274"/>
                    <a:pt x="2279" y="270"/>
                  </a:cubicBezTo>
                  <a:cubicBezTo>
                    <a:pt x="2285" y="268"/>
                    <a:pt x="2292" y="265"/>
                    <a:pt x="2292" y="265"/>
                  </a:cubicBezTo>
                  <a:cubicBezTo>
                    <a:pt x="2292" y="265"/>
                    <a:pt x="2299" y="274"/>
                    <a:pt x="2299" y="282"/>
                  </a:cubicBezTo>
                  <a:cubicBezTo>
                    <a:pt x="2300" y="292"/>
                    <a:pt x="2298" y="300"/>
                    <a:pt x="2289" y="307"/>
                  </a:cubicBezTo>
                  <a:cubicBezTo>
                    <a:pt x="2276" y="318"/>
                    <a:pt x="2253" y="324"/>
                    <a:pt x="2229" y="324"/>
                  </a:cubicBezTo>
                  <a:cubicBezTo>
                    <a:pt x="2200" y="324"/>
                    <a:pt x="2177" y="315"/>
                    <a:pt x="2161" y="297"/>
                  </a:cubicBezTo>
                  <a:cubicBezTo>
                    <a:pt x="2141" y="276"/>
                    <a:pt x="2131" y="244"/>
                    <a:pt x="2132" y="201"/>
                  </a:cubicBezTo>
                  <a:cubicBezTo>
                    <a:pt x="2134" y="130"/>
                    <a:pt x="2165" y="91"/>
                    <a:pt x="2220" y="91"/>
                  </a:cubicBezTo>
                  <a:cubicBezTo>
                    <a:pt x="2250" y="91"/>
                    <a:pt x="2274" y="98"/>
                    <a:pt x="2289" y="114"/>
                  </a:cubicBezTo>
                  <a:cubicBezTo>
                    <a:pt x="2301" y="127"/>
                    <a:pt x="2305" y="145"/>
                    <a:pt x="2305" y="166"/>
                  </a:cubicBezTo>
                  <a:cubicBezTo>
                    <a:pt x="2303" y="210"/>
                    <a:pt x="2270" y="234"/>
                    <a:pt x="2222" y="234"/>
                  </a:cubicBezTo>
                  <a:cubicBezTo>
                    <a:pt x="2210" y="234"/>
                    <a:pt x="2199" y="233"/>
                    <a:pt x="2186" y="232"/>
                  </a:cubicBezTo>
                  <a:moveTo>
                    <a:pt x="2219" y="198"/>
                  </a:moveTo>
                  <a:cubicBezTo>
                    <a:pt x="2243" y="198"/>
                    <a:pt x="2254" y="187"/>
                    <a:pt x="2254" y="165"/>
                  </a:cubicBezTo>
                  <a:cubicBezTo>
                    <a:pt x="2255" y="154"/>
                    <a:pt x="2252" y="144"/>
                    <a:pt x="2247" y="139"/>
                  </a:cubicBezTo>
                  <a:cubicBezTo>
                    <a:pt x="2242" y="133"/>
                    <a:pt x="2235" y="130"/>
                    <a:pt x="2225" y="130"/>
                  </a:cubicBezTo>
                  <a:cubicBezTo>
                    <a:pt x="2199" y="130"/>
                    <a:pt x="2187" y="153"/>
                    <a:pt x="2186" y="197"/>
                  </a:cubicBezTo>
                  <a:cubicBezTo>
                    <a:pt x="2200" y="198"/>
                    <a:pt x="2207" y="198"/>
                    <a:pt x="2219" y="198"/>
                  </a:cubicBezTo>
                  <a:moveTo>
                    <a:pt x="2492" y="232"/>
                  </a:moveTo>
                  <a:cubicBezTo>
                    <a:pt x="2497" y="262"/>
                    <a:pt x="2513" y="279"/>
                    <a:pt x="2541" y="279"/>
                  </a:cubicBezTo>
                  <a:cubicBezTo>
                    <a:pt x="2557" y="279"/>
                    <a:pt x="2573" y="274"/>
                    <a:pt x="2585" y="270"/>
                  </a:cubicBezTo>
                  <a:cubicBezTo>
                    <a:pt x="2591" y="268"/>
                    <a:pt x="2598" y="265"/>
                    <a:pt x="2598" y="265"/>
                  </a:cubicBezTo>
                  <a:cubicBezTo>
                    <a:pt x="2598" y="265"/>
                    <a:pt x="2605" y="274"/>
                    <a:pt x="2605" y="282"/>
                  </a:cubicBezTo>
                  <a:cubicBezTo>
                    <a:pt x="2606" y="292"/>
                    <a:pt x="2604" y="300"/>
                    <a:pt x="2594" y="307"/>
                  </a:cubicBezTo>
                  <a:cubicBezTo>
                    <a:pt x="2582" y="318"/>
                    <a:pt x="2559" y="324"/>
                    <a:pt x="2535" y="324"/>
                  </a:cubicBezTo>
                  <a:cubicBezTo>
                    <a:pt x="2506" y="324"/>
                    <a:pt x="2483" y="315"/>
                    <a:pt x="2466" y="297"/>
                  </a:cubicBezTo>
                  <a:cubicBezTo>
                    <a:pt x="2447" y="276"/>
                    <a:pt x="2437" y="244"/>
                    <a:pt x="2438" y="201"/>
                  </a:cubicBezTo>
                  <a:cubicBezTo>
                    <a:pt x="2439" y="130"/>
                    <a:pt x="2471" y="91"/>
                    <a:pt x="2526" y="91"/>
                  </a:cubicBezTo>
                  <a:cubicBezTo>
                    <a:pt x="2556" y="91"/>
                    <a:pt x="2580" y="98"/>
                    <a:pt x="2594" y="114"/>
                  </a:cubicBezTo>
                  <a:cubicBezTo>
                    <a:pt x="2607" y="127"/>
                    <a:pt x="2611" y="145"/>
                    <a:pt x="2611" y="166"/>
                  </a:cubicBezTo>
                  <a:cubicBezTo>
                    <a:pt x="2609" y="210"/>
                    <a:pt x="2576" y="234"/>
                    <a:pt x="2528" y="234"/>
                  </a:cubicBezTo>
                  <a:cubicBezTo>
                    <a:pt x="2516" y="234"/>
                    <a:pt x="2505" y="233"/>
                    <a:pt x="2492" y="232"/>
                  </a:cubicBezTo>
                  <a:moveTo>
                    <a:pt x="2525" y="198"/>
                  </a:moveTo>
                  <a:cubicBezTo>
                    <a:pt x="2549" y="198"/>
                    <a:pt x="2560" y="187"/>
                    <a:pt x="2560" y="165"/>
                  </a:cubicBezTo>
                  <a:cubicBezTo>
                    <a:pt x="2560" y="154"/>
                    <a:pt x="2558" y="144"/>
                    <a:pt x="2553" y="139"/>
                  </a:cubicBezTo>
                  <a:cubicBezTo>
                    <a:pt x="2548" y="133"/>
                    <a:pt x="2540" y="130"/>
                    <a:pt x="2531" y="130"/>
                  </a:cubicBezTo>
                  <a:cubicBezTo>
                    <a:pt x="2505" y="130"/>
                    <a:pt x="2493" y="153"/>
                    <a:pt x="2492" y="197"/>
                  </a:cubicBezTo>
                  <a:cubicBezTo>
                    <a:pt x="2506" y="198"/>
                    <a:pt x="2512" y="198"/>
                    <a:pt x="2525" y="198"/>
                  </a:cubicBezTo>
                  <a:moveTo>
                    <a:pt x="1516" y="91"/>
                  </a:moveTo>
                  <a:cubicBezTo>
                    <a:pt x="1481" y="91"/>
                    <a:pt x="1422" y="106"/>
                    <a:pt x="1422" y="208"/>
                  </a:cubicBezTo>
                  <a:cubicBezTo>
                    <a:pt x="1422" y="309"/>
                    <a:pt x="1481" y="324"/>
                    <a:pt x="1516" y="324"/>
                  </a:cubicBezTo>
                  <a:cubicBezTo>
                    <a:pt x="1552" y="324"/>
                    <a:pt x="1611" y="309"/>
                    <a:pt x="1611" y="208"/>
                  </a:cubicBezTo>
                  <a:cubicBezTo>
                    <a:pt x="1611" y="106"/>
                    <a:pt x="1552" y="91"/>
                    <a:pt x="1516" y="91"/>
                  </a:cubicBezTo>
                  <a:moveTo>
                    <a:pt x="1516" y="279"/>
                  </a:moveTo>
                  <a:cubicBezTo>
                    <a:pt x="1486" y="279"/>
                    <a:pt x="1478" y="239"/>
                    <a:pt x="1478" y="208"/>
                  </a:cubicBezTo>
                  <a:cubicBezTo>
                    <a:pt x="1478" y="177"/>
                    <a:pt x="1486" y="136"/>
                    <a:pt x="1516" y="136"/>
                  </a:cubicBezTo>
                  <a:cubicBezTo>
                    <a:pt x="1547" y="136"/>
                    <a:pt x="1554" y="177"/>
                    <a:pt x="1554" y="208"/>
                  </a:cubicBezTo>
                  <a:cubicBezTo>
                    <a:pt x="1554" y="239"/>
                    <a:pt x="1547" y="279"/>
                    <a:pt x="1516" y="279"/>
                  </a:cubicBezTo>
                  <a:moveTo>
                    <a:pt x="1735" y="91"/>
                  </a:moveTo>
                  <a:cubicBezTo>
                    <a:pt x="1699" y="91"/>
                    <a:pt x="1640" y="106"/>
                    <a:pt x="1640" y="208"/>
                  </a:cubicBezTo>
                  <a:cubicBezTo>
                    <a:pt x="1640" y="309"/>
                    <a:pt x="1699" y="324"/>
                    <a:pt x="1735" y="324"/>
                  </a:cubicBezTo>
                  <a:cubicBezTo>
                    <a:pt x="1770" y="324"/>
                    <a:pt x="1829" y="309"/>
                    <a:pt x="1829" y="208"/>
                  </a:cubicBezTo>
                  <a:cubicBezTo>
                    <a:pt x="1829" y="106"/>
                    <a:pt x="1770" y="91"/>
                    <a:pt x="1735" y="91"/>
                  </a:cubicBezTo>
                  <a:moveTo>
                    <a:pt x="1735" y="279"/>
                  </a:moveTo>
                  <a:cubicBezTo>
                    <a:pt x="1704" y="279"/>
                    <a:pt x="1697" y="239"/>
                    <a:pt x="1697" y="208"/>
                  </a:cubicBezTo>
                  <a:cubicBezTo>
                    <a:pt x="1697" y="177"/>
                    <a:pt x="1704" y="136"/>
                    <a:pt x="1735" y="136"/>
                  </a:cubicBezTo>
                  <a:cubicBezTo>
                    <a:pt x="1766" y="136"/>
                    <a:pt x="1772" y="177"/>
                    <a:pt x="1772" y="208"/>
                  </a:cubicBezTo>
                  <a:cubicBezTo>
                    <a:pt x="1772" y="239"/>
                    <a:pt x="1766" y="279"/>
                    <a:pt x="1735" y="279"/>
                  </a:cubicBezTo>
                  <a:moveTo>
                    <a:pt x="205" y="0"/>
                  </a:moveTo>
                  <a:cubicBezTo>
                    <a:pt x="187" y="0"/>
                    <a:pt x="175" y="4"/>
                    <a:pt x="175" y="4"/>
                  </a:cubicBezTo>
                  <a:cubicBezTo>
                    <a:pt x="137" y="160"/>
                    <a:pt x="137" y="160"/>
                    <a:pt x="137" y="160"/>
                  </a:cubicBezTo>
                  <a:cubicBezTo>
                    <a:pt x="133" y="176"/>
                    <a:pt x="123" y="222"/>
                    <a:pt x="119" y="247"/>
                  </a:cubicBezTo>
                  <a:cubicBezTo>
                    <a:pt x="115" y="221"/>
                    <a:pt x="106" y="177"/>
                    <a:pt x="101" y="160"/>
                  </a:cubicBezTo>
                  <a:cubicBezTo>
                    <a:pt x="69" y="25"/>
                    <a:pt x="69" y="25"/>
                    <a:pt x="69" y="25"/>
                  </a:cubicBezTo>
                  <a:cubicBezTo>
                    <a:pt x="65" y="9"/>
                    <a:pt x="55" y="1"/>
                    <a:pt x="39" y="1"/>
                  </a:cubicBezTo>
                  <a:cubicBezTo>
                    <a:pt x="18" y="1"/>
                    <a:pt x="4" y="10"/>
                    <a:pt x="0" y="13"/>
                  </a:cubicBezTo>
                  <a:cubicBezTo>
                    <a:pt x="4" y="19"/>
                    <a:pt x="8" y="25"/>
                    <a:pt x="13" y="42"/>
                  </a:cubicBezTo>
                  <a:cubicBezTo>
                    <a:pt x="79" y="292"/>
                    <a:pt x="79" y="292"/>
                    <a:pt x="79" y="292"/>
                  </a:cubicBezTo>
                  <a:cubicBezTo>
                    <a:pt x="84" y="312"/>
                    <a:pt x="92" y="321"/>
                    <a:pt x="106" y="321"/>
                  </a:cubicBezTo>
                  <a:cubicBezTo>
                    <a:pt x="120" y="321"/>
                    <a:pt x="134" y="321"/>
                    <a:pt x="151" y="312"/>
                  </a:cubicBezTo>
                  <a:cubicBezTo>
                    <a:pt x="226" y="29"/>
                    <a:pt x="226" y="29"/>
                    <a:pt x="226" y="29"/>
                  </a:cubicBezTo>
                  <a:cubicBezTo>
                    <a:pt x="232" y="9"/>
                    <a:pt x="220" y="0"/>
                    <a:pt x="205" y="0"/>
                  </a:cubicBezTo>
                  <a:moveTo>
                    <a:pt x="864" y="24"/>
                  </a:moveTo>
                  <a:cubicBezTo>
                    <a:pt x="864" y="7"/>
                    <a:pt x="854" y="1"/>
                    <a:pt x="840" y="1"/>
                  </a:cubicBezTo>
                  <a:cubicBezTo>
                    <a:pt x="828" y="1"/>
                    <a:pt x="813" y="3"/>
                    <a:pt x="807" y="6"/>
                  </a:cubicBezTo>
                  <a:cubicBezTo>
                    <a:pt x="811" y="13"/>
                    <a:pt x="812" y="25"/>
                    <a:pt x="812" y="35"/>
                  </a:cubicBezTo>
                  <a:cubicBezTo>
                    <a:pt x="812" y="112"/>
                    <a:pt x="812" y="112"/>
                    <a:pt x="812" y="112"/>
                  </a:cubicBezTo>
                  <a:cubicBezTo>
                    <a:pt x="799" y="99"/>
                    <a:pt x="785" y="91"/>
                    <a:pt x="766" y="91"/>
                  </a:cubicBezTo>
                  <a:cubicBezTo>
                    <a:pt x="744" y="91"/>
                    <a:pt x="726" y="98"/>
                    <a:pt x="713" y="113"/>
                  </a:cubicBezTo>
                  <a:cubicBezTo>
                    <a:pt x="689" y="138"/>
                    <a:pt x="684" y="180"/>
                    <a:pt x="684" y="202"/>
                  </a:cubicBezTo>
                  <a:cubicBezTo>
                    <a:pt x="684" y="246"/>
                    <a:pt x="693" y="282"/>
                    <a:pt x="713" y="303"/>
                  </a:cubicBezTo>
                  <a:cubicBezTo>
                    <a:pt x="725" y="316"/>
                    <a:pt x="742" y="323"/>
                    <a:pt x="760" y="323"/>
                  </a:cubicBezTo>
                  <a:cubicBezTo>
                    <a:pt x="784" y="323"/>
                    <a:pt x="802" y="312"/>
                    <a:pt x="813" y="295"/>
                  </a:cubicBezTo>
                  <a:cubicBezTo>
                    <a:pt x="813" y="295"/>
                    <a:pt x="817" y="305"/>
                    <a:pt x="821" y="310"/>
                  </a:cubicBezTo>
                  <a:cubicBezTo>
                    <a:pt x="828" y="318"/>
                    <a:pt x="836" y="322"/>
                    <a:pt x="850" y="322"/>
                  </a:cubicBezTo>
                  <a:cubicBezTo>
                    <a:pt x="874" y="322"/>
                    <a:pt x="887" y="314"/>
                    <a:pt x="888" y="295"/>
                  </a:cubicBezTo>
                  <a:cubicBezTo>
                    <a:pt x="888" y="291"/>
                    <a:pt x="886" y="285"/>
                    <a:pt x="885" y="283"/>
                  </a:cubicBezTo>
                  <a:cubicBezTo>
                    <a:pt x="878" y="283"/>
                    <a:pt x="878" y="283"/>
                    <a:pt x="878" y="283"/>
                  </a:cubicBezTo>
                  <a:cubicBezTo>
                    <a:pt x="873" y="283"/>
                    <a:pt x="870" y="282"/>
                    <a:pt x="868" y="281"/>
                  </a:cubicBezTo>
                  <a:cubicBezTo>
                    <a:pt x="865" y="278"/>
                    <a:pt x="864" y="273"/>
                    <a:pt x="864" y="264"/>
                  </a:cubicBezTo>
                  <a:lnTo>
                    <a:pt x="864" y="24"/>
                  </a:lnTo>
                  <a:close/>
                  <a:moveTo>
                    <a:pt x="774" y="277"/>
                  </a:moveTo>
                  <a:cubicBezTo>
                    <a:pt x="766" y="277"/>
                    <a:pt x="760" y="274"/>
                    <a:pt x="755" y="269"/>
                  </a:cubicBezTo>
                  <a:cubicBezTo>
                    <a:pt x="740" y="253"/>
                    <a:pt x="738" y="219"/>
                    <a:pt x="738" y="206"/>
                  </a:cubicBezTo>
                  <a:cubicBezTo>
                    <a:pt x="738" y="175"/>
                    <a:pt x="745" y="137"/>
                    <a:pt x="775" y="137"/>
                  </a:cubicBezTo>
                  <a:cubicBezTo>
                    <a:pt x="784" y="137"/>
                    <a:pt x="791" y="140"/>
                    <a:pt x="796" y="145"/>
                  </a:cubicBezTo>
                  <a:cubicBezTo>
                    <a:pt x="808" y="158"/>
                    <a:pt x="810" y="185"/>
                    <a:pt x="810" y="206"/>
                  </a:cubicBezTo>
                  <a:cubicBezTo>
                    <a:pt x="810" y="213"/>
                    <a:pt x="810" y="213"/>
                    <a:pt x="810" y="213"/>
                  </a:cubicBezTo>
                  <a:cubicBezTo>
                    <a:pt x="809" y="242"/>
                    <a:pt x="802" y="277"/>
                    <a:pt x="774" y="277"/>
                  </a:cubicBezTo>
                  <a:moveTo>
                    <a:pt x="659" y="283"/>
                  </a:moveTo>
                  <a:cubicBezTo>
                    <a:pt x="652" y="283"/>
                    <a:pt x="652" y="283"/>
                    <a:pt x="652" y="283"/>
                  </a:cubicBezTo>
                  <a:cubicBezTo>
                    <a:pt x="647" y="283"/>
                    <a:pt x="644" y="282"/>
                    <a:pt x="642" y="281"/>
                  </a:cubicBezTo>
                  <a:cubicBezTo>
                    <a:pt x="640" y="278"/>
                    <a:pt x="639" y="273"/>
                    <a:pt x="639" y="264"/>
                  </a:cubicBezTo>
                  <a:cubicBezTo>
                    <a:pt x="639" y="189"/>
                    <a:pt x="639" y="189"/>
                    <a:pt x="639" y="189"/>
                  </a:cubicBezTo>
                  <a:cubicBezTo>
                    <a:pt x="639" y="144"/>
                    <a:pt x="631" y="92"/>
                    <a:pt x="575" y="92"/>
                  </a:cubicBezTo>
                  <a:cubicBezTo>
                    <a:pt x="554" y="92"/>
                    <a:pt x="536" y="100"/>
                    <a:pt x="523" y="115"/>
                  </a:cubicBezTo>
                  <a:cubicBezTo>
                    <a:pt x="522" y="100"/>
                    <a:pt x="512" y="94"/>
                    <a:pt x="499" y="94"/>
                  </a:cubicBezTo>
                  <a:cubicBezTo>
                    <a:pt x="486" y="94"/>
                    <a:pt x="472" y="97"/>
                    <a:pt x="466" y="100"/>
                  </a:cubicBezTo>
                  <a:cubicBezTo>
                    <a:pt x="469" y="106"/>
                    <a:pt x="470" y="118"/>
                    <a:pt x="470" y="129"/>
                  </a:cubicBezTo>
                  <a:cubicBezTo>
                    <a:pt x="470" y="150"/>
                    <a:pt x="470" y="150"/>
                    <a:pt x="470" y="150"/>
                  </a:cubicBezTo>
                  <a:cubicBezTo>
                    <a:pt x="470" y="150"/>
                    <a:pt x="470" y="150"/>
                    <a:pt x="470" y="150"/>
                  </a:cubicBezTo>
                  <a:cubicBezTo>
                    <a:pt x="470" y="299"/>
                    <a:pt x="470" y="299"/>
                    <a:pt x="470" y="299"/>
                  </a:cubicBezTo>
                  <a:cubicBezTo>
                    <a:pt x="470" y="316"/>
                    <a:pt x="480" y="321"/>
                    <a:pt x="495" y="321"/>
                  </a:cubicBezTo>
                  <a:cubicBezTo>
                    <a:pt x="507" y="321"/>
                    <a:pt x="519" y="319"/>
                    <a:pt x="525" y="316"/>
                  </a:cubicBezTo>
                  <a:cubicBezTo>
                    <a:pt x="525" y="275"/>
                    <a:pt x="525" y="275"/>
                    <a:pt x="525" y="275"/>
                  </a:cubicBezTo>
                  <a:cubicBezTo>
                    <a:pt x="525" y="275"/>
                    <a:pt x="525" y="275"/>
                    <a:pt x="525" y="275"/>
                  </a:cubicBezTo>
                  <a:cubicBezTo>
                    <a:pt x="525" y="166"/>
                    <a:pt x="525" y="166"/>
                    <a:pt x="525" y="166"/>
                  </a:cubicBezTo>
                  <a:cubicBezTo>
                    <a:pt x="532" y="147"/>
                    <a:pt x="542" y="138"/>
                    <a:pt x="557" y="138"/>
                  </a:cubicBezTo>
                  <a:cubicBezTo>
                    <a:pt x="574" y="138"/>
                    <a:pt x="583" y="152"/>
                    <a:pt x="584" y="177"/>
                  </a:cubicBezTo>
                  <a:cubicBezTo>
                    <a:pt x="584" y="270"/>
                    <a:pt x="584" y="270"/>
                    <a:pt x="584" y="270"/>
                  </a:cubicBezTo>
                  <a:cubicBezTo>
                    <a:pt x="584" y="288"/>
                    <a:pt x="588" y="302"/>
                    <a:pt x="594" y="310"/>
                  </a:cubicBezTo>
                  <a:cubicBezTo>
                    <a:pt x="601" y="318"/>
                    <a:pt x="611" y="322"/>
                    <a:pt x="624" y="322"/>
                  </a:cubicBezTo>
                  <a:cubicBezTo>
                    <a:pt x="648" y="322"/>
                    <a:pt x="662" y="314"/>
                    <a:pt x="662" y="295"/>
                  </a:cubicBezTo>
                  <a:cubicBezTo>
                    <a:pt x="662" y="291"/>
                    <a:pt x="660" y="285"/>
                    <a:pt x="659" y="283"/>
                  </a:cubicBezTo>
                  <a:moveTo>
                    <a:pt x="1402" y="283"/>
                  </a:moveTo>
                  <a:cubicBezTo>
                    <a:pt x="1394" y="283"/>
                    <a:pt x="1394" y="283"/>
                    <a:pt x="1394" y="283"/>
                  </a:cubicBezTo>
                  <a:cubicBezTo>
                    <a:pt x="1389" y="283"/>
                    <a:pt x="1387" y="282"/>
                    <a:pt x="1385" y="281"/>
                  </a:cubicBezTo>
                  <a:cubicBezTo>
                    <a:pt x="1382" y="278"/>
                    <a:pt x="1381" y="273"/>
                    <a:pt x="1381" y="264"/>
                  </a:cubicBezTo>
                  <a:cubicBezTo>
                    <a:pt x="1381" y="183"/>
                    <a:pt x="1381" y="183"/>
                    <a:pt x="1381" y="183"/>
                  </a:cubicBezTo>
                  <a:cubicBezTo>
                    <a:pt x="1381" y="142"/>
                    <a:pt x="1374" y="94"/>
                    <a:pt x="1315" y="94"/>
                  </a:cubicBezTo>
                  <a:cubicBezTo>
                    <a:pt x="1296" y="94"/>
                    <a:pt x="1275" y="102"/>
                    <a:pt x="1261" y="118"/>
                  </a:cubicBezTo>
                  <a:cubicBezTo>
                    <a:pt x="1251" y="102"/>
                    <a:pt x="1236" y="94"/>
                    <a:pt x="1216" y="94"/>
                  </a:cubicBezTo>
                  <a:cubicBezTo>
                    <a:pt x="1198" y="94"/>
                    <a:pt x="1181" y="102"/>
                    <a:pt x="1166" y="118"/>
                  </a:cubicBezTo>
                  <a:cubicBezTo>
                    <a:pt x="1166" y="117"/>
                    <a:pt x="1166" y="117"/>
                    <a:pt x="1166" y="117"/>
                  </a:cubicBezTo>
                  <a:cubicBezTo>
                    <a:pt x="1166" y="100"/>
                    <a:pt x="1156" y="94"/>
                    <a:pt x="1142" y="94"/>
                  </a:cubicBezTo>
                  <a:cubicBezTo>
                    <a:pt x="1130" y="94"/>
                    <a:pt x="1115" y="97"/>
                    <a:pt x="1109" y="100"/>
                  </a:cubicBezTo>
                  <a:cubicBezTo>
                    <a:pt x="1112" y="106"/>
                    <a:pt x="1113" y="115"/>
                    <a:pt x="1113" y="125"/>
                  </a:cubicBezTo>
                  <a:cubicBezTo>
                    <a:pt x="1113" y="299"/>
                    <a:pt x="1113" y="299"/>
                    <a:pt x="1113" y="299"/>
                  </a:cubicBezTo>
                  <a:cubicBezTo>
                    <a:pt x="1113" y="316"/>
                    <a:pt x="1124" y="322"/>
                    <a:pt x="1138" y="322"/>
                  </a:cubicBezTo>
                  <a:cubicBezTo>
                    <a:pt x="1150" y="322"/>
                    <a:pt x="1162" y="319"/>
                    <a:pt x="1168" y="316"/>
                  </a:cubicBezTo>
                  <a:cubicBezTo>
                    <a:pt x="1168" y="168"/>
                    <a:pt x="1168" y="168"/>
                    <a:pt x="1168" y="168"/>
                  </a:cubicBezTo>
                  <a:cubicBezTo>
                    <a:pt x="1171" y="156"/>
                    <a:pt x="1179" y="140"/>
                    <a:pt x="1195" y="140"/>
                  </a:cubicBezTo>
                  <a:cubicBezTo>
                    <a:pt x="1202" y="140"/>
                    <a:pt x="1207" y="142"/>
                    <a:pt x="1211" y="147"/>
                  </a:cubicBezTo>
                  <a:cubicBezTo>
                    <a:pt x="1217" y="153"/>
                    <a:pt x="1220" y="164"/>
                    <a:pt x="1220" y="179"/>
                  </a:cubicBezTo>
                  <a:cubicBezTo>
                    <a:pt x="1220" y="299"/>
                    <a:pt x="1220" y="299"/>
                    <a:pt x="1220" y="299"/>
                  </a:cubicBezTo>
                  <a:cubicBezTo>
                    <a:pt x="1220" y="316"/>
                    <a:pt x="1230" y="322"/>
                    <a:pt x="1245" y="322"/>
                  </a:cubicBezTo>
                  <a:cubicBezTo>
                    <a:pt x="1257" y="322"/>
                    <a:pt x="1269" y="319"/>
                    <a:pt x="1275" y="316"/>
                  </a:cubicBezTo>
                  <a:cubicBezTo>
                    <a:pt x="1275" y="168"/>
                    <a:pt x="1275" y="168"/>
                    <a:pt x="1275" y="168"/>
                  </a:cubicBezTo>
                  <a:cubicBezTo>
                    <a:pt x="1278" y="156"/>
                    <a:pt x="1287" y="140"/>
                    <a:pt x="1303" y="140"/>
                  </a:cubicBezTo>
                  <a:cubicBezTo>
                    <a:pt x="1309" y="140"/>
                    <a:pt x="1314" y="142"/>
                    <a:pt x="1318" y="147"/>
                  </a:cubicBezTo>
                  <a:cubicBezTo>
                    <a:pt x="1324" y="153"/>
                    <a:pt x="1327" y="164"/>
                    <a:pt x="1327" y="179"/>
                  </a:cubicBezTo>
                  <a:cubicBezTo>
                    <a:pt x="1327" y="270"/>
                    <a:pt x="1327" y="270"/>
                    <a:pt x="1327" y="270"/>
                  </a:cubicBezTo>
                  <a:cubicBezTo>
                    <a:pt x="1327" y="288"/>
                    <a:pt x="1330" y="302"/>
                    <a:pt x="1337" y="310"/>
                  </a:cubicBezTo>
                  <a:cubicBezTo>
                    <a:pt x="1344" y="318"/>
                    <a:pt x="1353" y="322"/>
                    <a:pt x="1367" y="322"/>
                  </a:cubicBezTo>
                  <a:cubicBezTo>
                    <a:pt x="1391" y="322"/>
                    <a:pt x="1404" y="314"/>
                    <a:pt x="1404" y="295"/>
                  </a:cubicBezTo>
                  <a:cubicBezTo>
                    <a:pt x="1404" y="291"/>
                    <a:pt x="1403" y="285"/>
                    <a:pt x="1402" y="283"/>
                  </a:cubicBezTo>
                  <a:moveTo>
                    <a:pt x="1864" y="299"/>
                  </a:moveTo>
                  <a:cubicBezTo>
                    <a:pt x="1864" y="316"/>
                    <a:pt x="1875" y="322"/>
                    <a:pt x="1889" y="322"/>
                  </a:cubicBezTo>
                  <a:cubicBezTo>
                    <a:pt x="1901" y="322"/>
                    <a:pt x="1913" y="319"/>
                    <a:pt x="1919" y="316"/>
                  </a:cubicBezTo>
                  <a:cubicBezTo>
                    <a:pt x="1919" y="184"/>
                    <a:pt x="1919" y="184"/>
                    <a:pt x="1919" y="184"/>
                  </a:cubicBezTo>
                  <a:cubicBezTo>
                    <a:pt x="1921" y="156"/>
                    <a:pt x="1933" y="142"/>
                    <a:pt x="1955" y="142"/>
                  </a:cubicBezTo>
                  <a:cubicBezTo>
                    <a:pt x="1962" y="142"/>
                    <a:pt x="1967" y="144"/>
                    <a:pt x="1971" y="146"/>
                  </a:cubicBezTo>
                  <a:cubicBezTo>
                    <a:pt x="1973" y="147"/>
                    <a:pt x="1977" y="148"/>
                    <a:pt x="1979" y="150"/>
                  </a:cubicBezTo>
                  <a:cubicBezTo>
                    <a:pt x="1979" y="150"/>
                    <a:pt x="1989" y="140"/>
                    <a:pt x="1989" y="125"/>
                  </a:cubicBezTo>
                  <a:cubicBezTo>
                    <a:pt x="1988" y="108"/>
                    <a:pt x="1977" y="91"/>
                    <a:pt x="1952" y="91"/>
                  </a:cubicBezTo>
                  <a:cubicBezTo>
                    <a:pt x="1938" y="91"/>
                    <a:pt x="1924" y="98"/>
                    <a:pt x="1915" y="110"/>
                  </a:cubicBezTo>
                  <a:cubicBezTo>
                    <a:pt x="1912" y="99"/>
                    <a:pt x="1904" y="94"/>
                    <a:pt x="1892" y="94"/>
                  </a:cubicBezTo>
                  <a:cubicBezTo>
                    <a:pt x="1880" y="94"/>
                    <a:pt x="1866" y="97"/>
                    <a:pt x="1860" y="100"/>
                  </a:cubicBezTo>
                  <a:cubicBezTo>
                    <a:pt x="1863" y="106"/>
                    <a:pt x="1864" y="118"/>
                    <a:pt x="1864" y="129"/>
                  </a:cubicBezTo>
                  <a:lnTo>
                    <a:pt x="1864" y="299"/>
                  </a:lnTo>
                  <a:close/>
                  <a:moveTo>
                    <a:pt x="2113" y="287"/>
                  </a:moveTo>
                  <a:cubicBezTo>
                    <a:pt x="2111" y="275"/>
                    <a:pt x="2105" y="270"/>
                    <a:pt x="2105" y="270"/>
                  </a:cubicBezTo>
                  <a:cubicBezTo>
                    <a:pt x="2103" y="270"/>
                    <a:pt x="2099" y="272"/>
                    <a:pt x="2096" y="273"/>
                  </a:cubicBezTo>
                  <a:cubicBezTo>
                    <a:pt x="2092" y="275"/>
                    <a:pt x="2085" y="277"/>
                    <a:pt x="2079" y="277"/>
                  </a:cubicBezTo>
                  <a:cubicBezTo>
                    <a:pt x="2068" y="277"/>
                    <a:pt x="2063" y="270"/>
                    <a:pt x="2063" y="252"/>
                  </a:cubicBezTo>
                  <a:cubicBezTo>
                    <a:pt x="2063" y="142"/>
                    <a:pt x="2063" y="142"/>
                    <a:pt x="2063" y="142"/>
                  </a:cubicBezTo>
                  <a:cubicBezTo>
                    <a:pt x="2091" y="142"/>
                    <a:pt x="2091" y="142"/>
                    <a:pt x="2091" y="142"/>
                  </a:cubicBezTo>
                  <a:cubicBezTo>
                    <a:pt x="2109" y="142"/>
                    <a:pt x="2112" y="125"/>
                    <a:pt x="2112" y="114"/>
                  </a:cubicBezTo>
                  <a:cubicBezTo>
                    <a:pt x="2112" y="107"/>
                    <a:pt x="2111" y="101"/>
                    <a:pt x="2106" y="97"/>
                  </a:cubicBezTo>
                  <a:cubicBezTo>
                    <a:pt x="2063" y="97"/>
                    <a:pt x="2063" y="97"/>
                    <a:pt x="2063" y="97"/>
                  </a:cubicBezTo>
                  <a:cubicBezTo>
                    <a:pt x="2063" y="69"/>
                    <a:pt x="2063" y="69"/>
                    <a:pt x="2063" y="69"/>
                  </a:cubicBezTo>
                  <a:cubicBezTo>
                    <a:pt x="2063" y="52"/>
                    <a:pt x="2053" y="46"/>
                    <a:pt x="2038" y="46"/>
                  </a:cubicBezTo>
                  <a:cubicBezTo>
                    <a:pt x="2025" y="46"/>
                    <a:pt x="2010" y="48"/>
                    <a:pt x="2004" y="51"/>
                  </a:cubicBezTo>
                  <a:cubicBezTo>
                    <a:pt x="2007" y="57"/>
                    <a:pt x="2008" y="66"/>
                    <a:pt x="2008" y="76"/>
                  </a:cubicBezTo>
                  <a:cubicBezTo>
                    <a:pt x="2008" y="256"/>
                    <a:pt x="2008" y="256"/>
                    <a:pt x="2008" y="256"/>
                  </a:cubicBezTo>
                  <a:cubicBezTo>
                    <a:pt x="2008" y="299"/>
                    <a:pt x="2030" y="323"/>
                    <a:pt x="2064" y="323"/>
                  </a:cubicBezTo>
                  <a:cubicBezTo>
                    <a:pt x="2100" y="323"/>
                    <a:pt x="2115" y="304"/>
                    <a:pt x="2113" y="287"/>
                  </a:cubicBezTo>
                  <a:moveTo>
                    <a:pt x="2339" y="270"/>
                  </a:moveTo>
                  <a:cubicBezTo>
                    <a:pt x="2339" y="289"/>
                    <a:pt x="2343" y="302"/>
                    <a:pt x="2350" y="311"/>
                  </a:cubicBezTo>
                  <a:cubicBezTo>
                    <a:pt x="2356" y="319"/>
                    <a:pt x="2366" y="323"/>
                    <a:pt x="2379" y="323"/>
                  </a:cubicBezTo>
                  <a:cubicBezTo>
                    <a:pt x="2404" y="323"/>
                    <a:pt x="2417" y="314"/>
                    <a:pt x="2417" y="295"/>
                  </a:cubicBezTo>
                  <a:cubicBezTo>
                    <a:pt x="2417" y="291"/>
                    <a:pt x="2416" y="285"/>
                    <a:pt x="2415" y="283"/>
                  </a:cubicBezTo>
                  <a:cubicBezTo>
                    <a:pt x="2407" y="283"/>
                    <a:pt x="2407" y="283"/>
                    <a:pt x="2407" y="283"/>
                  </a:cubicBezTo>
                  <a:cubicBezTo>
                    <a:pt x="2402" y="283"/>
                    <a:pt x="2399" y="283"/>
                    <a:pt x="2397" y="281"/>
                  </a:cubicBezTo>
                  <a:cubicBezTo>
                    <a:pt x="2395" y="279"/>
                    <a:pt x="2394" y="274"/>
                    <a:pt x="2394" y="264"/>
                  </a:cubicBezTo>
                  <a:cubicBezTo>
                    <a:pt x="2394" y="24"/>
                    <a:pt x="2394" y="24"/>
                    <a:pt x="2394" y="24"/>
                  </a:cubicBezTo>
                  <a:cubicBezTo>
                    <a:pt x="2394" y="21"/>
                    <a:pt x="2394" y="18"/>
                    <a:pt x="2393" y="16"/>
                  </a:cubicBezTo>
                  <a:cubicBezTo>
                    <a:pt x="2390" y="5"/>
                    <a:pt x="2381" y="1"/>
                    <a:pt x="2369" y="1"/>
                  </a:cubicBezTo>
                  <a:cubicBezTo>
                    <a:pt x="2356" y="1"/>
                    <a:pt x="2341" y="4"/>
                    <a:pt x="2335" y="7"/>
                  </a:cubicBezTo>
                  <a:cubicBezTo>
                    <a:pt x="2338" y="13"/>
                    <a:pt x="2339" y="25"/>
                    <a:pt x="2339" y="36"/>
                  </a:cubicBezTo>
                  <a:lnTo>
                    <a:pt x="2339" y="270"/>
                  </a:lnTo>
                  <a:close/>
                  <a:moveTo>
                    <a:pt x="385" y="96"/>
                  </a:moveTo>
                  <a:cubicBezTo>
                    <a:pt x="373" y="96"/>
                    <a:pt x="364" y="101"/>
                    <a:pt x="362" y="115"/>
                  </a:cubicBezTo>
                  <a:cubicBezTo>
                    <a:pt x="353" y="102"/>
                    <a:pt x="336" y="91"/>
                    <a:pt x="315" y="91"/>
                  </a:cubicBezTo>
                  <a:cubicBezTo>
                    <a:pt x="293" y="91"/>
                    <a:pt x="275" y="98"/>
                    <a:pt x="261" y="113"/>
                  </a:cubicBezTo>
                  <a:cubicBezTo>
                    <a:pt x="237" y="138"/>
                    <a:pt x="232" y="180"/>
                    <a:pt x="232" y="202"/>
                  </a:cubicBezTo>
                  <a:cubicBezTo>
                    <a:pt x="232" y="245"/>
                    <a:pt x="241" y="281"/>
                    <a:pt x="262" y="303"/>
                  </a:cubicBezTo>
                  <a:cubicBezTo>
                    <a:pt x="274" y="316"/>
                    <a:pt x="290" y="323"/>
                    <a:pt x="309" y="323"/>
                  </a:cubicBezTo>
                  <a:cubicBezTo>
                    <a:pt x="332" y="323"/>
                    <a:pt x="351" y="313"/>
                    <a:pt x="362" y="295"/>
                  </a:cubicBezTo>
                  <a:cubicBezTo>
                    <a:pt x="362" y="295"/>
                    <a:pt x="365" y="305"/>
                    <a:pt x="370" y="310"/>
                  </a:cubicBezTo>
                  <a:cubicBezTo>
                    <a:pt x="376" y="318"/>
                    <a:pt x="385" y="322"/>
                    <a:pt x="398" y="322"/>
                  </a:cubicBezTo>
                  <a:cubicBezTo>
                    <a:pt x="422" y="322"/>
                    <a:pt x="436" y="314"/>
                    <a:pt x="436" y="295"/>
                  </a:cubicBezTo>
                  <a:cubicBezTo>
                    <a:pt x="436" y="291"/>
                    <a:pt x="435" y="285"/>
                    <a:pt x="433" y="283"/>
                  </a:cubicBezTo>
                  <a:cubicBezTo>
                    <a:pt x="426" y="283"/>
                    <a:pt x="426" y="283"/>
                    <a:pt x="426" y="283"/>
                  </a:cubicBezTo>
                  <a:cubicBezTo>
                    <a:pt x="421" y="283"/>
                    <a:pt x="418" y="282"/>
                    <a:pt x="416" y="281"/>
                  </a:cubicBezTo>
                  <a:cubicBezTo>
                    <a:pt x="414" y="278"/>
                    <a:pt x="413" y="273"/>
                    <a:pt x="413" y="264"/>
                  </a:cubicBezTo>
                  <a:cubicBezTo>
                    <a:pt x="413" y="96"/>
                    <a:pt x="413" y="96"/>
                    <a:pt x="413" y="96"/>
                  </a:cubicBezTo>
                  <a:lnTo>
                    <a:pt x="385" y="96"/>
                  </a:lnTo>
                  <a:close/>
                  <a:moveTo>
                    <a:pt x="323" y="277"/>
                  </a:moveTo>
                  <a:cubicBezTo>
                    <a:pt x="315" y="277"/>
                    <a:pt x="309" y="274"/>
                    <a:pt x="303" y="269"/>
                  </a:cubicBezTo>
                  <a:cubicBezTo>
                    <a:pt x="288" y="253"/>
                    <a:pt x="287" y="219"/>
                    <a:pt x="287" y="206"/>
                  </a:cubicBezTo>
                  <a:cubicBezTo>
                    <a:pt x="287" y="175"/>
                    <a:pt x="293" y="137"/>
                    <a:pt x="323" y="137"/>
                  </a:cubicBezTo>
                  <a:cubicBezTo>
                    <a:pt x="332" y="137"/>
                    <a:pt x="339" y="139"/>
                    <a:pt x="345" y="145"/>
                  </a:cubicBezTo>
                  <a:cubicBezTo>
                    <a:pt x="357" y="158"/>
                    <a:pt x="358" y="185"/>
                    <a:pt x="358" y="206"/>
                  </a:cubicBezTo>
                  <a:cubicBezTo>
                    <a:pt x="358" y="213"/>
                    <a:pt x="358" y="213"/>
                    <a:pt x="358" y="213"/>
                  </a:cubicBezTo>
                  <a:cubicBezTo>
                    <a:pt x="357" y="241"/>
                    <a:pt x="350" y="277"/>
                    <a:pt x="323" y="277"/>
                  </a:cubicBezTo>
                </a:path>
              </a:pathLst>
            </a:custGeom>
            <a:solidFill>
              <a:srgbClr val="4C00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19" name="Freeform 6"/>
            <p:cNvSpPr>
              <a:spLocks noSelect="1"/>
            </p:cNvSpPr>
            <p:nvPr/>
          </p:nvSpPr>
          <p:spPr bwMode="gray">
            <a:xfrm>
              <a:off x="636" y="4062"/>
              <a:ext cx="109" cy="97"/>
            </a:xfrm>
            <a:custGeom>
              <a:avLst/>
              <a:gdLst>
                <a:gd name="T0" fmla="*/ 89 w 291"/>
                <a:gd name="T1" fmla="*/ 200 h 259"/>
                <a:gd name="T2" fmla="*/ 290 w 291"/>
                <a:gd name="T3" fmla="*/ 241 h 259"/>
                <a:gd name="T4" fmla="*/ 201 w 291"/>
                <a:gd name="T5" fmla="*/ 59 h 259"/>
                <a:gd name="T6" fmla="*/ 1 w 291"/>
                <a:gd name="T7" fmla="*/ 18 h 259"/>
                <a:gd name="T8" fmla="*/ 89 w 291"/>
                <a:gd name="T9" fmla="*/ 200 h 259"/>
              </a:gdLst>
              <a:ahLst/>
              <a:cxnLst>
                <a:cxn ang="0">
                  <a:pos x="T0" y="T1"/>
                </a:cxn>
                <a:cxn ang="0">
                  <a:pos x="T2" y="T3"/>
                </a:cxn>
                <a:cxn ang="0">
                  <a:pos x="T4" y="T5"/>
                </a:cxn>
                <a:cxn ang="0">
                  <a:pos x="T6" y="T7"/>
                </a:cxn>
                <a:cxn ang="0">
                  <a:pos x="T8" y="T9"/>
                </a:cxn>
              </a:cxnLst>
              <a:rect l="0" t="0" r="r" b="b"/>
              <a:pathLst>
                <a:path w="291" h="259">
                  <a:moveTo>
                    <a:pt x="89" y="200"/>
                  </a:moveTo>
                  <a:cubicBezTo>
                    <a:pt x="148" y="246"/>
                    <a:pt x="222" y="259"/>
                    <a:pt x="290" y="241"/>
                  </a:cubicBezTo>
                  <a:cubicBezTo>
                    <a:pt x="291" y="172"/>
                    <a:pt x="260" y="104"/>
                    <a:pt x="201" y="59"/>
                  </a:cubicBezTo>
                  <a:cubicBezTo>
                    <a:pt x="142" y="13"/>
                    <a:pt x="68" y="0"/>
                    <a:pt x="1" y="18"/>
                  </a:cubicBezTo>
                  <a:cubicBezTo>
                    <a:pt x="0" y="87"/>
                    <a:pt x="30" y="155"/>
                    <a:pt x="89" y="200"/>
                  </a:cubicBezTo>
                </a:path>
              </a:pathLst>
            </a:custGeom>
            <a:solidFill>
              <a:srgbClr val="A619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20" name="Freeform 7"/>
            <p:cNvSpPr>
              <a:spLocks noSelect="1"/>
            </p:cNvSpPr>
            <p:nvPr/>
          </p:nvSpPr>
          <p:spPr bwMode="gray">
            <a:xfrm>
              <a:off x="713" y="3938"/>
              <a:ext cx="49" cy="82"/>
            </a:xfrm>
            <a:custGeom>
              <a:avLst/>
              <a:gdLst>
                <a:gd name="T0" fmla="*/ 10 w 130"/>
                <a:gd name="T1" fmla="*/ 97 h 218"/>
                <a:gd name="T2" fmla="*/ 40 w 130"/>
                <a:gd name="T3" fmla="*/ 218 h 218"/>
                <a:gd name="T4" fmla="*/ 120 w 130"/>
                <a:gd name="T5" fmla="*/ 121 h 218"/>
                <a:gd name="T6" fmla="*/ 89 w 130"/>
                <a:gd name="T7" fmla="*/ 0 h 218"/>
                <a:gd name="T8" fmla="*/ 10 w 130"/>
                <a:gd name="T9" fmla="*/ 97 h 218"/>
              </a:gdLst>
              <a:ahLst/>
              <a:cxnLst>
                <a:cxn ang="0">
                  <a:pos x="T0" y="T1"/>
                </a:cxn>
                <a:cxn ang="0">
                  <a:pos x="T2" y="T3"/>
                </a:cxn>
                <a:cxn ang="0">
                  <a:pos x="T4" y="T5"/>
                </a:cxn>
                <a:cxn ang="0">
                  <a:pos x="T6" y="T7"/>
                </a:cxn>
                <a:cxn ang="0">
                  <a:pos x="T8" y="T9"/>
                </a:cxn>
              </a:cxnLst>
              <a:rect l="0" t="0" r="r" b="b"/>
              <a:pathLst>
                <a:path w="130" h="218">
                  <a:moveTo>
                    <a:pt x="10" y="97"/>
                  </a:moveTo>
                  <a:cubicBezTo>
                    <a:pt x="0" y="142"/>
                    <a:pt x="12" y="186"/>
                    <a:pt x="40" y="218"/>
                  </a:cubicBezTo>
                  <a:cubicBezTo>
                    <a:pt x="79" y="201"/>
                    <a:pt x="110" y="166"/>
                    <a:pt x="120" y="121"/>
                  </a:cubicBezTo>
                  <a:cubicBezTo>
                    <a:pt x="130" y="77"/>
                    <a:pt x="117" y="32"/>
                    <a:pt x="89" y="0"/>
                  </a:cubicBezTo>
                  <a:cubicBezTo>
                    <a:pt x="50" y="18"/>
                    <a:pt x="20" y="52"/>
                    <a:pt x="10" y="97"/>
                  </a:cubicBezTo>
                </a:path>
              </a:pathLst>
            </a:custGeom>
            <a:solidFill>
              <a:srgbClr val="00AE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21" name="Freeform 8"/>
            <p:cNvSpPr>
              <a:spLocks noSelect="1"/>
            </p:cNvSpPr>
            <p:nvPr/>
          </p:nvSpPr>
          <p:spPr bwMode="gray">
            <a:xfrm>
              <a:off x="737" y="3996"/>
              <a:ext cx="72" cy="110"/>
            </a:xfrm>
            <a:custGeom>
              <a:avLst/>
              <a:gdLst>
                <a:gd name="T0" fmla="*/ 22 w 190"/>
                <a:gd name="T1" fmla="*/ 120 h 292"/>
                <a:gd name="T2" fmla="*/ 42 w 190"/>
                <a:gd name="T3" fmla="*/ 292 h 292"/>
                <a:gd name="T4" fmla="*/ 168 w 190"/>
                <a:gd name="T5" fmla="*/ 172 h 292"/>
                <a:gd name="T6" fmla="*/ 148 w 190"/>
                <a:gd name="T7" fmla="*/ 0 h 292"/>
                <a:gd name="T8" fmla="*/ 22 w 190"/>
                <a:gd name="T9" fmla="*/ 120 h 292"/>
              </a:gdLst>
              <a:ahLst/>
              <a:cxnLst>
                <a:cxn ang="0">
                  <a:pos x="T0" y="T1"/>
                </a:cxn>
                <a:cxn ang="0">
                  <a:pos x="T2" y="T3"/>
                </a:cxn>
                <a:cxn ang="0">
                  <a:pos x="T4" y="T5"/>
                </a:cxn>
                <a:cxn ang="0">
                  <a:pos x="T6" y="T7"/>
                </a:cxn>
                <a:cxn ang="0">
                  <a:pos x="T8" y="T9"/>
                </a:cxn>
              </a:cxnLst>
              <a:rect l="0" t="0" r="r" b="b"/>
              <a:pathLst>
                <a:path w="190" h="292">
                  <a:moveTo>
                    <a:pt x="22" y="120"/>
                  </a:moveTo>
                  <a:cubicBezTo>
                    <a:pt x="0" y="180"/>
                    <a:pt x="10" y="243"/>
                    <a:pt x="42" y="292"/>
                  </a:cubicBezTo>
                  <a:cubicBezTo>
                    <a:pt x="99" y="275"/>
                    <a:pt x="147" y="232"/>
                    <a:pt x="168" y="172"/>
                  </a:cubicBezTo>
                  <a:cubicBezTo>
                    <a:pt x="190" y="113"/>
                    <a:pt x="180" y="50"/>
                    <a:pt x="148" y="0"/>
                  </a:cubicBezTo>
                  <a:cubicBezTo>
                    <a:pt x="91" y="18"/>
                    <a:pt x="44" y="61"/>
                    <a:pt x="22" y="120"/>
                  </a:cubicBezTo>
                </a:path>
              </a:pathLst>
            </a:custGeom>
            <a:solidFill>
              <a:srgbClr val="F09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22" name="Freeform 9"/>
            <p:cNvSpPr>
              <a:spLocks noSelect="1"/>
            </p:cNvSpPr>
            <p:nvPr/>
          </p:nvSpPr>
          <p:spPr bwMode="gray">
            <a:xfrm>
              <a:off x="634" y="3982"/>
              <a:ext cx="74" cy="71"/>
            </a:xfrm>
            <a:custGeom>
              <a:avLst/>
              <a:gdLst>
                <a:gd name="T0" fmla="*/ 54 w 196"/>
                <a:gd name="T1" fmla="*/ 139 h 188"/>
                <a:gd name="T2" fmla="*/ 191 w 196"/>
                <a:gd name="T3" fmla="*/ 180 h 188"/>
                <a:gd name="T4" fmla="*/ 142 w 196"/>
                <a:gd name="T5" fmla="*/ 48 h 188"/>
                <a:gd name="T6" fmla="*/ 5 w 196"/>
                <a:gd name="T7" fmla="*/ 8 h 188"/>
                <a:gd name="T8" fmla="*/ 54 w 196"/>
                <a:gd name="T9" fmla="*/ 139 h 188"/>
              </a:gdLst>
              <a:ahLst/>
              <a:cxnLst>
                <a:cxn ang="0">
                  <a:pos x="T0" y="T1"/>
                </a:cxn>
                <a:cxn ang="0">
                  <a:pos x="T2" y="T3"/>
                </a:cxn>
                <a:cxn ang="0">
                  <a:pos x="T4" y="T5"/>
                </a:cxn>
                <a:cxn ang="0">
                  <a:pos x="T6" y="T7"/>
                </a:cxn>
                <a:cxn ang="0">
                  <a:pos x="T8" y="T9"/>
                </a:cxn>
              </a:cxnLst>
              <a:rect l="0" t="0" r="r" b="b"/>
              <a:pathLst>
                <a:path w="196" h="188">
                  <a:moveTo>
                    <a:pt x="54" y="139"/>
                  </a:moveTo>
                  <a:cubicBezTo>
                    <a:pt x="93" y="174"/>
                    <a:pt x="143" y="188"/>
                    <a:pt x="191" y="180"/>
                  </a:cubicBezTo>
                  <a:cubicBezTo>
                    <a:pt x="196" y="132"/>
                    <a:pt x="180" y="83"/>
                    <a:pt x="142" y="48"/>
                  </a:cubicBezTo>
                  <a:cubicBezTo>
                    <a:pt x="103" y="13"/>
                    <a:pt x="53" y="0"/>
                    <a:pt x="5" y="8"/>
                  </a:cubicBezTo>
                  <a:cubicBezTo>
                    <a:pt x="0" y="55"/>
                    <a:pt x="16" y="104"/>
                    <a:pt x="54" y="139"/>
                  </a:cubicBezTo>
                </a:path>
              </a:pathLst>
            </a:custGeom>
            <a:solidFill>
              <a:srgbClr val="FAB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grpSp>
    </p:spTree>
    <p:extLst>
      <p:ext uri="{BB962C8B-B14F-4D97-AF65-F5344CB8AC3E}">
        <p14:creationId xmlns:p14="http://schemas.microsoft.com/office/powerpoint/2010/main" val="33473877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Endslide">
    <p:bg>
      <p:bgPr>
        <a:solidFill>
          <a:srgbClr val="4C0045"/>
        </a:solidFill>
        <a:effectLst/>
      </p:bgPr>
    </p:bg>
    <p:spTree>
      <p:nvGrpSpPr>
        <p:cNvPr id="1" name=""/>
        <p:cNvGrpSpPr/>
        <p:nvPr/>
      </p:nvGrpSpPr>
      <p:grpSpPr>
        <a:xfrm>
          <a:off x="0" y="0"/>
          <a:ext cx="0" cy="0"/>
          <a:chOff x="0" y="0"/>
          <a:chExt cx="0" cy="0"/>
        </a:xfrm>
      </p:grpSpPr>
      <p:sp>
        <p:nvSpPr>
          <p:cNvPr id="22" name="Freeform 6"/>
          <p:cNvSpPr>
            <a:spLocks noSelect="1"/>
          </p:cNvSpPr>
          <p:nvPr/>
        </p:nvSpPr>
        <p:spPr bwMode="invGray">
          <a:xfrm>
            <a:off x="614353" y="8597036"/>
            <a:ext cx="1679251" cy="28200"/>
          </a:xfrm>
          <a:custGeom>
            <a:avLst/>
            <a:gdLst>
              <a:gd name="T0" fmla="*/ 0 w 1644"/>
              <a:gd name="T1" fmla="*/ 0 h 16"/>
              <a:gd name="T2" fmla="*/ 1644 w 1644"/>
              <a:gd name="T3" fmla="*/ 0 h 16"/>
              <a:gd name="T4" fmla="*/ 1644 w 1644"/>
              <a:gd name="T5" fmla="*/ 16 h 16"/>
              <a:gd name="T6" fmla="*/ 0 w 1644"/>
              <a:gd name="T7" fmla="*/ 16 h 16"/>
            </a:gdLst>
            <a:ahLst/>
            <a:cxnLst>
              <a:cxn ang="0">
                <a:pos x="T0" y="T1"/>
              </a:cxn>
              <a:cxn ang="0">
                <a:pos x="T2" y="T3"/>
              </a:cxn>
              <a:cxn ang="0">
                <a:pos x="T4" y="T5"/>
              </a:cxn>
              <a:cxn ang="0">
                <a:pos x="T6" y="T7"/>
              </a:cxn>
            </a:cxnLst>
            <a:rect l="0" t="0" r="r" b="b"/>
            <a:pathLst>
              <a:path w="1644" h="16">
                <a:moveTo>
                  <a:pt x="0" y="0"/>
                </a:moveTo>
                <a:lnTo>
                  <a:pt x="1644" y="0"/>
                </a:lnTo>
                <a:lnTo>
                  <a:pt x="1644" y="16"/>
                </a:lnTo>
                <a:lnTo>
                  <a:pt x="0"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77724" tIns="38862" rIns="77724" bIns="38862" numCol="1" anchor="t" anchorCtr="0" compatLnSpc="1">
            <a:prstTxWarp prst="textNoShape">
              <a:avLst/>
            </a:prstTxWarp>
          </a:bodyPr>
          <a:lstStyle/>
          <a:p>
            <a:endParaRPr lang="en-GB" sz="1785"/>
          </a:p>
        </p:txBody>
      </p:sp>
      <p:sp>
        <p:nvSpPr>
          <p:cNvPr id="6" name="Tekstvak 5"/>
          <p:cNvSpPr txBox="1">
            <a:spLocks noSelect="1"/>
          </p:cNvSpPr>
          <p:nvPr/>
        </p:nvSpPr>
        <p:spPr bwMode="invGray">
          <a:xfrm>
            <a:off x="627924" y="7310170"/>
            <a:ext cx="2263286" cy="704808"/>
          </a:xfrm>
          <a:prstGeom prst="rect">
            <a:avLst/>
          </a:prstGeom>
          <a:noFill/>
        </p:spPr>
        <p:txBody>
          <a:bodyPr wrap="square" lIns="0" tIns="0" rIns="0" bIns="0" rtlCol="0">
            <a:spAutoFit/>
          </a:bodyPr>
          <a:lstStyle/>
          <a:p>
            <a:pPr>
              <a:spcAft>
                <a:spcPts val="595"/>
              </a:spcAft>
            </a:pPr>
            <a:r>
              <a:rPr lang="en-GB" sz="1020" cap="all" spc="127" baseline="0" noProof="1">
                <a:solidFill>
                  <a:schemeClr val="bg1"/>
                </a:solidFill>
                <a:latin typeface="+mj-lt"/>
              </a:rPr>
              <a:t>vandemoortele headquarters</a:t>
            </a:r>
          </a:p>
          <a:p>
            <a:pPr>
              <a:lnSpc>
                <a:spcPct val="100000"/>
              </a:lnSpc>
            </a:pPr>
            <a:r>
              <a:rPr lang="en-GB" sz="1020" noProof="1">
                <a:solidFill>
                  <a:schemeClr val="bg1"/>
                </a:solidFill>
              </a:rPr>
              <a:t>Ottergemsesteenweg-Zuid 816</a:t>
            </a:r>
          </a:p>
          <a:p>
            <a:pPr>
              <a:lnSpc>
                <a:spcPct val="100000"/>
              </a:lnSpc>
            </a:pPr>
            <a:r>
              <a:rPr lang="en-GB" sz="1020" noProof="1">
                <a:solidFill>
                  <a:schemeClr val="bg1"/>
                </a:solidFill>
              </a:rPr>
              <a:t>9000 Gent, Belgium</a:t>
            </a:r>
          </a:p>
          <a:p>
            <a:pPr>
              <a:lnSpc>
                <a:spcPct val="100000"/>
              </a:lnSpc>
            </a:pPr>
            <a:r>
              <a:rPr lang="en-GB" sz="1020" noProof="1">
                <a:solidFill>
                  <a:schemeClr val="bg1"/>
                </a:solidFill>
              </a:rPr>
              <a:t>www.</a:t>
            </a:r>
            <a:r>
              <a:rPr lang="en-GB" sz="1020" baseline="0" noProof="1">
                <a:solidFill>
                  <a:schemeClr val="bg1"/>
                </a:solidFill>
              </a:rPr>
              <a:t>vandemoortele.com</a:t>
            </a:r>
            <a:endParaRPr lang="en-GB" sz="1020" noProof="1">
              <a:solidFill>
                <a:schemeClr val="bg1"/>
              </a:solidFill>
            </a:endParaRPr>
          </a:p>
        </p:txBody>
      </p:sp>
      <p:sp>
        <p:nvSpPr>
          <p:cNvPr id="7" name="Streep (PHJU)"/>
          <p:cNvSpPr>
            <a:spLocks noGrp="1" noSelect="1"/>
          </p:cNvSpPr>
          <p:nvPr>
            <p:ph type="body" idx="1003" hasCustomPrompt="1"/>
          </p:nvPr>
        </p:nvSpPr>
        <p:spPr bwMode="gray">
          <a:xfrm>
            <a:off x="621057" y="8999763"/>
            <a:ext cx="1695966" cy="52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Tree>
    <p:extLst>
      <p:ext uri="{BB962C8B-B14F-4D97-AF65-F5344CB8AC3E}">
        <p14:creationId xmlns:p14="http://schemas.microsoft.com/office/powerpoint/2010/main" val="17915054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38229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siness Cards 10-up">
    <p:spTree>
      <p:nvGrpSpPr>
        <p:cNvPr id="1" name=""/>
        <p:cNvGrpSpPr/>
        <p:nvPr/>
      </p:nvGrpSpPr>
      <p:grpSpPr>
        <a:xfrm>
          <a:off x="0" y="0"/>
          <a:ext cx="0" cy="0"/>
          <a:chOff x="0" y="0"/>
          <a:chExt cx="0" cy="0"/>
        </a:xfrm>
      </p:grpSpPr>
      <p:sp>
        <p:nvSpPr>
          <p:cNvPr id="20" name="Text Placeholder 19"/>
          <p:cNvSpPr>
            <a:spLocks noGrp="1"/>
          </p:cNvSpPr>
          <p:nvPr>
            <p:ph type="body" sz="quarter" idx="10" hasCustomPrompt="1"/>
          </p:nvPr>
        </p:nvSpPr>
        <p:spPr>
          <a:xfrm>
            <a:off x="835300" y="950084"/>
            <a:ext cx="2903820" cy="185282"/>
          </a:xfrm>
        </p:spPr>
        <p:txBody>
          <a:bodyPr lIns="0" tIns="0" rIns="0" bIns="0" anchor="t">
            <a:noAutofit/>
          </a:bodyPr>
          <a:lstStyle>
            <a:lvl1pPr marL="0" indent="0" algn="ctr">
              <a:lnSpc>
                <a:spcPct val="80000"/>
              </a:lnSpc>
              <a:spcBef>
                <a:spcPts val="0"/>
              </a:spcBef>
              <a:buNone/>
              <a:defRPr sz="1200" b="0" cap="all" baseline="0">
                <a:solidFill>
                  <a:schemeClr val="accent2"/>
                </a:solidFill>
                <a:latin typeface="+mn-lt"/>
              </a:defRPr>
            </a:lvl1pPr>
            <a:lvl2pPr marL="0" indent="0">
              <a:spcBef>
                <a:spcPts val="0"/>
              </a:spcBef>
              <a:buNone/>
              <a:defRPr sz="900"/>
            </a:lvl2pPr>
            <a:lvl3pPr marL="0" indent="0">
              <a:spcBef>
                <a:spcPts val="0"/>
              </a:spcBef>
              <a:buNone/>
              <a:defRPr sz="900"/>
            </a:lvl3pPr>
            <a:lvl4pPr marL="0" indent="0">
              <a:spcBef>
                <a:spcPts val="0"/>
              </a:spcBef>
              <a:buNone/>
              <a:defRPr sz="900"/>
            </a:lvl4pPr>
            <a:lvl5pPr marL="0" indent="0">
              <a:spcBef>
                <a:spcPts val="0"/>
              </a:spcBef>
              <a:buNone/>
              <a:defRPr sz="900"/>
            </a:lvl5pPr>
          </a:lstStyle>
          <a:p>
            <a:pPr lvl="0"/>
            <a:r>
              <a:t>[Name]</a:t>
            </a:r>
          </a:p>
        </p:txBody>
      </p:sp>
      <p:sp>
        <p:nvSpPr>
          <p:cNvPr id="22" name="Text Placeholder 21"/>
          <p:cNvSpPr>
            <a:spLocks noGrp="1"/>
          </p:cNvSpPr>
          <p:nvPr>
            <p:ph type="body" sz="quarter" idx="11" hasCustomPrompt="1"/>
          </p:nvPr>
        </p:nvSpPr>
        <p:spPr>
          <a:xfrm>
            <a:off x="833568" y="1125309"/>
            <a:ext cx="2907284" cy="140384"/>
          </a:xfrm>
        </p:spPr>
        <p:txBody>
          <a:bodyPr lIns="0" tIns="0" rIns="0" bIns="0" anchor="t">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b="1">
                <a:solidFill>
                  <a:schemeClr val="tx1">
                    <a:lumMod val="65000"/>
                    <a:lumOff val="35000"/>
                  </a:schemeClr>
                </a:solidFill>
              </a:defRPr>
            </a:lvl2pPr>
            <a:lvl3pPr marL="0" indent="0">
              <a:spcBef>
                <a:spcPts val="0"/>
              </a:spcBef>
              <a:buNone/>
              <a:defRPr sz="700" b="1">
                <a:solidFill>
                  <a:schemeClr val="tx1">
                    <a:lumMod val="65000"/>
                    <a:lumOff val="35000"/>
                  </a:schemeClr>
                </a:solidFill>
              </a:defRPr>
            </a:lvl3pPr>
            <a:lvl4pPr marL="0" indent="0">
              <a:spcBef>
                <a:spcPts val="0"/>
              </a:spcBef>
              <a:buNone/>
              <a:defRPr sz="700" b="1">
                <a:solidFill>
                  <a:schemeClr val="tx1">
                    <a:lumMod val="65000"/>
                    <a:lumOff val="35000"/>
                  </a:schemeClr>
                </a:solidFill>
              </a:defRPr>
            </a:lvl4pPr>
            <a:lvl5pPr marL="0" indent="0">
              <a:spcBef>
                <a:spcPts val="0"/>
              </a:spcBef>
              <a:buNone/>
              <a:defRPr sz="700" b="1">
                <a:solidFill>
                  <a:schemeClr val="tx1">
                    <a:lumMod val="65000"/>
                    <a:lumOff val="35000"/>
                  </a:schemeClr>
                </a:solidFill>
              </a:defRPr>
            </a:lvl5pPr>
          </a:lstStyle>
          <a:p>
            <a:pPr lvl="0"/>
            <a:r>
              <a:t>[Title]</a:t>
            </a:r>
          </a:p>
        </p:txBody>
      </p:sp>
      <p:sp>
        <p:nvSpPr>
          <p:cNvPr id="112" name="Text Placeholder 31"/>
          <p:cNvSpPr>
            <a:spLocks noGrp="1"/>
          </p:cNvSpPr>
          <p:nvPr>
            <p:ph type="body" sz="quarter" idx="80" hasCustomPrompt="1"/>
          </p:nvPr>
        </p:nvSpPr>
        <p:spPr>
          <a:xfrm>
            <a:off x="833314" y="1517239"/>
            <a:ext cx="2907792" cy="140081"/>
          </a:xfrm>
        </p:spPr>
        <p:txBody>
          <a:bodyPr lIns="0" tIns="0" rIns="0" bIns="0">
            <a:noAutofit/>
          </a:bodyPr>
          <a:lstStyle>
            <a:lvl1pPr marL="0" indent="0" algn="ctr">
              <a:lnSpc>
                <a:spcPct val="80000"/>
              </a:lnSpc>
              <a:spcBef>
                <a:spcPts val="0"/>
              </a:spcBef>
              <a:buNone/>
              <a:defRPr sz="1000" b="0" cap="none" baseline="0">
                <a:solidFill>
                  <a:schemeClr val="accent6"/>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Company]</a:t>
            </a:r>
          </a:p>
        </p:txBody>
      </p:sp>
      <p:sp>
        <p:nvSpPr>
          <p:cNvPr id="32" name="Text Placeholder 31"/>
          <p:cNvSpPr>
            <a:spLocks noGrp="1"/>
          </p:cNvSpPr>
          <p:nvPr>
            <p:ph type="body" sz="quarter" idx="16" hasCustomPrompt="1"/>
          </p:nvPr>
        </p:nvSpPr>
        <p:spPr>
          <a:xfrm>
            <a:off x="833314" y="1666174"/>
            <a:ext cx="2907792" cy="128016"/>
          </a:xfrm>
        </p:spPr>
        <p:txBody>
          <a:bodyPr lIns="0" tIns="0" rIns="0" bIns="0">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Street Address, City, ST ZIP Code]</a:t>
            </a:r>
          </a:p>
        </p:txBody>
      </p:sp>
      <p:sp>
        <p:nvSpPr>
          <p:cNvPr id="148" name="Text Placeholder 27"/>
          <p:cNvSpPr>
            <a:spLocks noGrp="1"/>
          </p:cNvSpPr>
          <p:nvPr>
            <p:ph type="body" sz="quarter" idx="84" hasCustomPrompt="1"/>
          </p:nvPr>
        </p:nvSpPr>
        <p:spPr>
          <a:xfrm>
            <a:off x="833314" y="1807094"/>
            <a:ext cx="2907792" cy="128016"/>
          </a:xfrm>
        </p:spPr>
        <p:txBody>
          <a:bodyPr lIns="0" tIns="0" rIns="0" bIns="0" anchor="t">
            <a:noAutofit/>
          </a:bodyPr>
          <a:lstStyle>
            <a:lvl1pPr marL="0" indent="0" algn="ctr">
              <a:lnSpc>
                <a:spcPct val="80000"/>
              </a:lnSpc>
              <a:spcBef>
                <a:spcPts val="0"/>
              </a:spcBef>
              <a:buFontTx/>
              <a:buNone/>
              <a:defRPr sz="900" b="0" baseline="0">
                <a:solidFill>
                  <a:schemeClr val="accent5"/>
                </a:solidFill>
                <a:latin typeface="+mn-lt"/>
              </a:defRPr>
            </a:lvl1pPr>
            <a:lvl2pPr marL="0" indent="0">
              <a:spcBef>
                <a:spcPts val="0"/>
              </a:spcBef>
              <a:buFontTx/>
              <a:buNone/>
              <a:defRPr sz="700">
                <a:solidFill>
                  <a:schemeClr val="accent1"/>
                </a:solidFill>
              </a:defRPr>
            </a:lvl2pPr>
            <a:lvl3pPr marL="0" indent="0">
              <a:spcBef>
                <a:spcPts val="0"/>
              </a:spcBef>
              <a:buFontTx/>
              <a:buNone/>
              <a:defRPr sz="700">
                <a:solidFill>
                  <a:schemeClr val="accent1"/>
                </a:solidFill>
              </a:defRPr>
            </a:lvl3pPr>
            <a:lvl4pPr marL="0" indent="0">
              <a:spcBef>
                <a:spcPts val="0"/>
              </a:spcBef>
              <a:buFontTx/>
              <a:buNone/>
              <a:defRPr sz="700">
                <a:solidFill>
                  <a:schemeClr val="accent1"/>
                </a:solidFill>
              </a:defRPr>
            </a:lvl4pPr>
            <a:lvl5pPr marL="0" indent="0">
              <a:spcBef>
                <a:spcPts val="0"/>
              </a:spcBef>
              <a:buFontTx/>
              <a:buNone/>
              <a:defRPr sz="700">
                <a:solidFill>
                  <a:schemeClr val="accent1"/>
                </a:solidFill>
              </a:defRPr>
            </a:lvl5pPr>
          </a:lstStyle>
          <a:p>
            <a:pPr lvl="0"/>
            <a:r>
              <a:t>[Web Address]</a:t>
            </a:r>
          </a:p>
        </p:txBody>
      </p:sp>
      <p:sp>
        <p:nvSpPr>
          <p:cNvPr id="125" name="Text Placeholder 23"/>
          <p:cNvSpPr>
            <a:spLocks noGrp="1"/>
          </p:cNvSpPr>
          <p:nvPr>
            <p:ph type="body" sz="quarter" idx="82" hasCustomPrompt="1"/>
          </p:nvPr>
        </p:nvSpPr>
        <p:spPr>
          <a:xfrm>
            <a:off x="833568" y="1997600"/>
            <a:ext cx="2907792" cy="128016"/>
          </a:xfrm>
        </p:spPr>
        <p:txBody>
          <a:bodyPr lIns="0" tIns="0" rIns="0" bIns="0" anchor="b">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lvl2pPr>
            <a:lvl3pPr marL="0" indent="0">
              <a:spcBef>
                <a:spcPts val="0"/>
              </a:spcBef>
              <a:buNone/>
              <a:defRPr sz="700"/>
            </a:lvl3pPr>
            <a:lvl4pPr marL="0" indent="0">
              <a:spcBef>
                <a:spcPts val="0"/>
              </a:spcBef>
              <a:buNone/>
              <a:defRPr sz="700"/>
            </a:lvl4pPr>
            <a:lvl5pPr marL="0" indent="0">
              <a:spcBef>
                <a:spcPts val="0"/>
              </a:spcBef>
              <a:buNone/>
              <a:defRPr sz="700"/>
            </a:lvl5pPr>
          </a:lstStyle>
          <a:p>
            <a:pPr lvl="0"/>
            <a:r>
              <a:t>[Telephone] | [Email]</a:t>
            </a:r>
          </a:p>
        </p:txBody>
      </p:sp>
      <p:sp>
        <p:nvSpPr>
          <p:cNvPr id="115" name="Text Placeholder 19"/>
          <p:cNvSpPr>
            <a:spLocks noGrp="1"/>
          </p:cNvSpPr>
          <p:nvPr>
            <p:ph type="body" sz="quarter" idx="85" hasCustomPrompt="1"/>
          </p:nvPr>
        </p:nvSpPr>
        <p:spPr>
          <a:xfrm>
            <a:off x="4034490" y="950084"/>
            <a:ext cx="2903820" cy="185282"/>
          </a:xfrm>
        </p:spPr>
        <p:txBody>
          <a:bodyPr lIns="0" tIns="0" rIns="0" bIns="0" anchor="t">
            <a:noAutofit/>
          </a:bodyPr>
          <a:lstStyle>
            <a:lvl1pPr marL="0" indent="0" algn="ctr">
              <a:lnSpc>
                <a:spcPct val="80000"/>
              </a:lnSpc>
              <a:spcBef>
                <a:spcPts val="0"/>
              </a:spcBef>
              <a:buNone/>
              <a:defRPr sz="1200" b="0" cap="all" baseline="0">
                <a:solidFill>
                  <a:schemeClr val="accent2"/>
                </a:solidFill>
                <a:latin typeface="+mn-lt"/>
              </a:defRPr>
            </a:lvl1pPr>
            <a:lvl2pPr marL="0" indent="0">
              <a:spcBef>
                <a:spcPts val="0"/>
              </a:spcBef>
              <a:buNone/>
              <a:defRPr sz="900"/>
            </a:lvl2pPr>
            <a:lvl3pPr marL="0" indent="0">
              <a:spcBef>
                <a:spcPts val="0"/>
              </a:spcBef>
              <a:buNone/>
              <a:defRPr sz="900"/>
            </a:lvl3pPr>
            <a:lvl4pPr marL="0" indent="0">
              <a:spcBef>
                <a:spcPts val="0"/>
              </a:spcBef>
              <a:buNone/>
              <a:defRPr sz="900"/>
            </a:lvl4pPr>
            <a:lvl5pPr marL="0" indent="0">
              <a:spcBef>
                <a:spcPts val="0"/>
              </a:spcBef>
              <a:buNone/>
              <a:defRPr sz="900"/>
            </a:lvl5pPr>
          </a:lstStyle>
          <a:p>
            <a:pPr lvl="0"/>
            <a:r>
              <a:t>[Name]</a:t>
            </a:r>
          </a:p>
        </p:txBody>
      </p:sp>
      <p:sp>
        <p:nvSpPr>
          <p:cNvPr id="116" name="Text Placeholder 21"/>
          <p:cNvSpPr>
            <a:spLocks noGrp="1"/>
          </p:cNvSpPr>
          <p:nvPr>
            <p:ph type="body" sz="quarter" idx="86" hasCustomPrompt="1"/>
          </p:nvPr>
        </p:nvSpPr>
        <p:spPr>
          <a:xfrm>
            <a:off x="4032758" y="1125309"/>
            <a:ext cx="2907284" cy="140384"/>
          </a:xfrm>
        </p:spPr>
        <p:txBody>
          <a:bodyPr lIns="0" tIns="0" rIns="0" bIns="0" anchor="t">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b="1">
                <a:solidFill>
                  <a:schemeClr val="tx1">
                    <a:lumMod val="65000"/>
                    <a:lumOff val="35000"/>
                  </a:schemeClr>
                </a:solidFill>
              </a:defRPr>
            </a:lvl2pPr>
            <a:lvl3pPr marL="0" indent="0">
              <a:spcBef>
                <a:spcPts val="0"/>
              </a:spcBef>
              <a:buNone/>
              <a:defRPr sz="700" b="1">
                <a:solidFill>
                  <a:schemeClr val="tx1">
                    <a:lumMod val="65000"/>
                    <a:lumOff val="35000"/>
                  </a:schemeClr>
                </a:solidFill>
              </a:defRPr>
            </a:lvl3pPr>
            <a:lvl4pPr marL="0" indent="0">
              <a:spcBef>
                <a:spcPts val="0"/>
              </a:spcBef>
              <a:buNone/>
              <a:defRPr sz="700" b="1">
                <a:solidFill>
                  <a:schemeClr val="tx1">
                    <a:lumMod val="65000"/>
                    <a:lumOff val="35000"/>
                  </a:schemeClr>
                </a:solidFill>
              </a:defRPr>
            </a:lvl4pPr>
            <a:lvl5pPr marL="0" indent="0">
              <a:spcBef>
                <a:spcPts val="0"/>
              </a:spcBef>
              <a:buNone/>
              <a:defRPr sz="700" b="1">
                <a:solidFill>
                  <a:schemeClr val="tx1">
                    <a:lumMod val="65000"/>
                    <a:lumOff val="35000"/>
                  </a:schemeClr>
                </a:solidFill>
              </a:defRPr>
            </a:lvl5pPr>
          </a:lstStyle>
          <a:p>
            <a:pPr lvl="0"/>
            <a:r>
              <a:t>[Title]</a:t>
            </a:r>
          </a:p>
        </p:txBody>
      </p:sp>
      <p:sp>
        <p:nvSpPr>
          <p:cNvPr id="117" name="Text Placeholder 31"/>
          <p:cNvSpPr>
            <a:spLocks noGrp="1"/>
          </p:cNvSpPr>
          <p:nvPr>
            <p:ph type="body" sz="quarter" idx="87" hasCustomPrompt="1"/>
          </p:nvPr>
        </p:nvSpPr>
        <p:spPr>
          <a:xfrm>
            <a:off x="4032504" y="1517239"/>
            <a:ext cx="2907792" cy="140081"/>
          </a:xfrm>
        </p:spPr>
        <p:txBody>
          <a:bodyPr lIns="0" tIns="0" rIns="0" bIns="0">
            <a:noAutofit/>
          </a:bodyPr>
          <a:lstStyle>
            <a:lvl1pPr marL="0" indent="0" algn="ctr">
              <a:lnSpc>
                <a:spcPct val="80000"/>
              </a:lnSpc>
              <a:spcBef>
                <a:spcPts val="0"/>
              </a:spcBef>
              <a:buNone/>
              <a:defRPr sz="1000" b="0" cap="none" baseline="0">
                <a:solidFill>
                  <a:schemeClr val="accent6"/>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Company]</a:t>
            </a:r>
          </a:p>
        </p:txBody>
      </p:sp>
      <p:sp>
        <p:nvSpPr>
          <p:cNvPr id="118" name="Text Placeholder 31"/>
          <p:cNvSpPr>
            <a:spLocks noGrp="1"/>
          </p:cNvSpPr>
          <p:nvPr>
            <p:ph type="body" sz="quarter" idx="88" hasCustomPrompt="1"/>
          </p:nvPr>
        </p:nvSpPr>
        <p:spPr>
          <a:xfrm>
            <a:off x="4032504" y="1666174"/>
            <a:ext cx="2907792" cy="128016"/>
          </a:xfrm>
        </p:spPr>
        <p:txBody>
          <a:bodyPr lIns="0" tIns="0" rIns="0" bIns="0">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Street Address, City, ST ZIP Code]</a:t>
            </a:r>
          </a:p>
        </p:txBody>
      </p:sp>
      <p:sp>
        <p:nvSpPr>
          <p:cNvPr id="119" name="Text Placeholder 27"/>
          <p:cNvSpPr>
            <a:spLocks noGrp="1"/>
          </p:cNvSpPr>
          <p:nvPr>
            <p:ph type="body" sz="quarter" idx="89" hasCustomPrompt="1"/>
          </p:nvPr>
        </p:nvSpPr>
        <p:spPr>
          <a:xfrm>
            <a:off x="4032504" y="1807094"/>
            <a:ext cx="2907792" cy="128016"/>
          </a:xfrm>
        </p:spPr>
        <p:txBody>
          <a:bodyPr lIns="0" tIns="0" rIns="0" bIns="0" anchor="t">
            <a:noAutofit/>
          </a:bodyPr>
          <a:lstStyle>
            <a:lvl1pPr marL="0" indent="0" algn="ctr">
              <a:lnSpc>
                <a:spcPct val="80000"/>
              </a:lnSpc>
              <a:spcBef>
                <a:spcPts val="0"/>
              </a:spcBef>
              <a:buFontTx/>
              <a:buNone/>
              <a:defRPr sz="900" b="0" baseline="0">
                <a:solidFill>
                  <a:schemeClr val="accent5"/>
                </a:solidFill>
                <a:latin typeface="+mn-lt"/>
              </a:defRPr>
            </a:lvl1pPr>
            <a:lvl2pPr marL="0" indent="0">
              <a:spcBef>
                <a:spcPts val="0"/>
              </a:spcBef>
              <a:buFontTx/>
              <a:buNone/>
              <a:defRPr sz="700">
                <a:solidFill>
                  <a:schemeClr val="accent1"/>
                </a:solidFill>
              </a:defRPr>
            </a:lvl2pPr>
            <a:lvl3pPr marL="0" indent="0">
              <a:spcBef>
                <a:spcPts val="0"/>
              </a:spcBef>
              <a:buFontTx/>
              <a:buNone/>
              <a:defRPr sz="700">
                <a:solidFill>
                  <a:schemeClr val="accent1"/>
                </a:solidFill>
              </a:defRPr>
            </a:lvl3pPr>
            <a:lvl4pPr marL="0" indent="0">
              <a:spcBef>
                <a:spcPts val="0"/>
              </a:spcBef>
              <a:buFontTx/>
              <a:buNone/>
              <a:defRPr sz="700">
                <a:solidFill>
                  <a:schemeClr val="accent1"/>
                </a:solidFill>
              </a:defRPr>
            </a:lvl4pPr>
            <a:lvl5pPr marL="0" indent="0">
              <a:spcBef>
                <a:spcPts val="0"/>
              </a:spcBef>
              <a:buFontTx/>
              <a:buNone/>
              <a:defRPr sz="700">
                <a:solidFill>
                  <a:schemeClr val="accent1"/>
                </a:solidFill>
              </a:defRPr>
            </a:lvl5pPr>
          </a:lstStyle>
          <a:p>
            <a:pPr lvl="0"/>
            <a:r>
              <a:t>[Web Address]</a:t>
            </a:r>
          </a:p>
        </p:txBody>
      </p:sp>
      <p:sp>
        <p:nvSpPr>
          <p:cNvPr id="120" name="Text Placeholder 23"/>
          <p:cNvSpPr>
            <a:spLocks noGrp="1"/>
          </p:cNvSpPr>
          <p:nvPr>
            <p:ph type="body" sz="quarter" idx="90" hasCustomPrompt="1"/>
          </p:nvPr>
        </p:nvSpPr>
        <p:spPr>
          <a:xfrm>
            <a:off x="4032504" y="1997600"/>
            <a:ext cx="2907792" cy="128016"/>
          </a:xfrm>
        </p:spPr>
        <p:txBody>
          <a:bodyPr lIns="0" tIns="0" rIns="0" bIns="0" anchor="b">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lvl2pPr>
            <a:lvl3pPr marL="0" indent="0">
              <a:spcBef>
                <a:spcPts val="0"/>
              </a:spcBef>
              <a:buNone/>
              <a:defRPr sz="700"/>
            </a:lvl3pPr>
            <a:lvl4pPr marL="0" indent="0">
              <a:spcBef>
                <a:spcPts val="0"/>
              </a:spcBef>
              <a:buNone/>
              <a:defRPr sz="700"/>
            </a:lvl4pPr>
            <a:lvl5pPr marL="0" indent="0">
              <a:spcBef>
                <a:spcPts val="0"/>
              </a:spcBef>
              <a:buNone/>
              <a:defRPr sz="700"/>
            </a:lvl5pPr>
          </a:lstStyle>
          <a:p>
            <a:pPr lvl="0"/>
            <a:r>
              <a:t>[Telephone] | [Email]</a:t>
            </a:r>
          </a:p>
        </p:txBody>
      </p:sp>
      <p:sp>
        <p:nvSpPr>
          <p:cNvPr id="123" name="Text Placeholder 19"/>
          <p:cNvSpPr>
            <a:spLocks noGrp="1"/>
          </p:cNvSpPr>
          <p:nvPr>
            <p:ph type="body" sz="quarter" idx="92" hasCustomPrompt="1"/>
          </p:nvPr>
        </p:nvSpPr>
        <p:spPr>
          <a:xfrm>
            <a:off x="835300" y="2777399"/>
            <a:ext cx="2903820" cy="185282"/>
          </a:xfrm>
        </p:spPr>
        <p:txBody>
          <a:bodyPr lIns="0" tIns="0" rIns="0" bIns="0" anchor="t">
            <a:noAutofit/>
          </a:bodyPr>
          <a:lstStyle>
            <a:lvl1pPr marL="0" indent="0" algn="ctr">
              <a:lnSpc>
                <a:spcPct val="80000"/>
              </a:lnSpc>
              <a:spcBef>
                <a:spcPts val="0"/>
              </a:spcBef>
              <a:buNone/>
              <a:defRPr sz="1200" b="0" cap="all" baseline="0">
                <a:solidFill>
                  <a:schemeClr val="accent2"/>
                </a:solidFill>
                <a:latin typeface="+mn-lt"/>
              </a:defRPr>
            </a:lvl1pPr>
            <a:lvl2pPr marL="0" indent="0">
              <a:spcBef>
                <a:spcPts val="0"/>
              </a:spcBef>
              <a:buNone/>
              <a:defRPr sz="900"/>
            </a:lvl2pPr>
            <a:lvl3pPr marL="0" indent="0">
              <a:spcBef>
                <a:spcPts val="0"/>
              </a:spcBef>
              <a:buNone/>
              <a:defRPr sz="900"/>
            </a:lvl3pPr>
            <a:lvl4pPr marL="0" indent="0">
              <a:spcBef>
                <a:spcPts val="0"/>
              </a:spcBef>
              <a:buNone/>
              <a:defRPr sz="900"/>
            </a:lvl4pPr>
            <a:lvl5pPr marL="0" indent="0">
              <a:spcBef>
                <a:spcPts val="0"/>
              </a:spcBef>
              <a:buNone/>
              <a:defRPr sz="900"/>
            </a:lvl5pPr>
          </a:lstStyle>
          <a:p>
            <a:pPr lvl="0"/>
            <a:r>
              <a:t>[Name]</a:t>
            </a:r>
          </a:p>
        </p:txBody>
      </p:sp>
      <p:sp>
        <p:nvSpPr>
          <p:cNvPr id="124" name="Text Placeholder 21"/>
          <p:cNvSpPr>
            <a:spLocks noGrp="1"/>
          </p:cNvSpPr>
          <p:nvPr>
            <p:ph type="body" sz="quarter" idx="93" hasCustomPrompt="1"/>
          </p:nvPr>
        </p:nvSpPr>
        <p:spPr>
          <a:xfrm>
            <a:off x="833568" y="2952624"/>
            <a:ext cx="2907284" cy="140384"/>
          </a:xfrm>
        </p:spPr>
        <p:txBody>
          <a:bodyPr lIns="0" tIns="0" rIns="0" bIns="0" anchor="t">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b="1">
                <a:solidFill>
                  <a:schemeClr val="tx1">
                    <a:lumMod val="65000"/>
                    <a:lumOff val="35000"/>
                  </a:schemeClr>
                </a:solidFill>
              </a:defRPr>
            </a:lvl2pPr>
            <a:lvl3pPr marL="0" indent="0">
              <a:spcBef>
                <a:spcPts val="0"/>
              </a:spcBef>
              <a:buNone/>
              <a:defRPr sz="700" b="1">
                <a:solidFill>
                  <a:schemeClr val="tx1">
                    <a:lumMod val="65000"/>
                    <a:lumOff val="35000"/>
                  </a:schemeClr>
                </a:solidFill>
              </a:defRPr>
            </a:lvl3pPr>
            <a:lvl4pPr marL="0" indent="0">
              <a:spcBef>
                <a:spcPts val="0"/>
              </a:spcBef>
              <a:buNone/>
              <a:defRPr sz="700" b="1">
                <a:solidFill>
                  <a:schemeClr val="tx1">
                    <a:lumMod val="65000"/>
                    <a:lumOff val="35000"/>
                  </a:schemeClr>
                </a:solidFill>
              </a:defRPr>
            </a:lvl4pPr>
            <a:lvl5pPr marL="0" indent="0">
              <a:spcBef>
                <a:spcPts val="0"/>
              </a:spcBef>
              <a:buNone/>
              <a:defRPr sz="700" b="1">
                <a:solidFill>
                  <a:schemeClr val="tx1">
                    <a:lumMod val="65000"/>
                    <a:lumOff val="35000"/>
                  </a:schemeClr>
                </a:solidFill>
              </a:defRPr>
            </a:lvl5pPr>
          </a:lstStyle>
          <a:p>
            <a:pPr lvl="0"/>
            <a:r>
              <a:t>[Title]</a:t>
            </a:r>
          </a:p>
        </p:txBody>
      </p:sp>
      <p:sp>
        <p:nvSpPr>
          <p:cNvPr id="126" name="Text Placeholder 31"/>
          <p:cNvSpPr>
            <a:spLocks noGrp="1"/>
          </p:cNvSpPr>
          <p:nvPr>
            <p:ph type="body" sz="quarter" idx="94" hasCustomPrompt="1"/>
          </p:nvPr>
        </p:nvSpPr>
        <p:spPr>
          <a:xfrm>
            <a:off x="833314" y="3344554"/>
            <a:ext cx="2907792" cy="140081"/>
          </a:xfrm>
        </p:spPr>
        <p:txBody>
          <a:bodyPr lIns="0" tIns="0" rIns="0" bIns="0">
            <a:noAutofit/>
          </a:bodyPr>
          <a:lstStyle>
            <a:lvl1pPr marL="0" indent="0" algn="ctr">
              <a:lnSpc>
                <a:spcPct val="80000"/>
              </a:lnSpc>
              <a:spcBef>
                <a:spcPts val="0"/>
              </a:spcBef>
              <a:buNone/>
              <a:defRPr sz="1000" b="0" cap="none" baseline="0">
                <a:solidFill>
                  <a:schemeClr val="accent6"/>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Company]</a:t>
            </a:r>
          </a:p>
        </p:txBody>
      </p:sp>
      <p:sp>
        <p:nvSpPr>
          <p:cNvPr id="127" name="Text Placeholder 31"/>
          <p:cNvSpPr>
            <a:spLocks noGrp="1"/>
          </p:cNvSpPr>
          <p:nvPr>
            <p:ph type="body" sz="quarter" idx="95" hasCustomPrompt="1"/>
          </p:nvPr>
        </p:nvSpPr>
        <p:spPr>
          <a:xfrm>
            <a:off x="833314" y="3493489"/>
            <a:ext cx="2907792" cy="128016"/>
          </a:xfrm>
        </p:spPr>
        <p:txBody>
          <a:bodyPr lIns="0" tIns="0" rIns="0" bIns="0">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Street Address, City, ST ZIP Code]</a:t>
            </a:r>
          </a:p>
        </p:txBody>
      </p:sp>
      <p:sp>
        <p:nvSpPr>
          <p:cNvPr id="128" name="Text Placeholder 27"/>
          <p:cNvSpPr>
            <a:spLocks noGrp="1"/>
          </p:cNvSpPr>
          <p:nvPr>
            <p:ph type="body" sz="quarter" idx="96" hasCustomPrompt="1"/>
          </p:nvPr>
        </p:nvSpPr>
        <p:spPr>
          <a:xfrm>
            <a:off x="833314" y="3634409"/>
            <a:ext cx="2907792" cy="128016"/>
          </a:xfrm>
        </p:spPr>
        <p:txBody>
          <a:bodyPr lIns="0" tIns="0" rIns="0" bIns="0" anchor="t">
            <a:noAutofit/>
          </a:bodyPr>
          <a:lstStyle>
            <a:lvl1pPr marL="0" indent="0" algn="ctr">
              <a:lnSpc>
                <a:spcPct val="80000"/>
              </a:lnSpc>
              <a:spcBef>
                <a:spcPts val="0"/>
              </a:spcBef>
              <a:buFontTx/>
              <a:buNone/>
              <a:defRPr sz="900" b="0" baseline="0">
                <a:solidFill>
                  <a:schemeClr val="accent5"/>
                </a:solidFill>
                <a:latin typeface="+mn-lt"/>
              </a:defRPr>
            </a:lvl1pPr>
            <a:lvl2pPr marL="0" indent="0">
              <a:spcBef>
                <a:spcPts val="0"/>
              </a:spcBef>
              <a:buFontTx/>
              <a:buNone/>
              <a:defRPr sz="700">
                <a:solidFill>
                  <a:schemeClr val="accent1"/>
                </a:solidFill>
              </a:defRPr>
            </a:lvl2pPr>
            <a:lvl3pPr marL="0" indent="0">
              <a:spcBef>
                <a:spcPts val="0"/>
              </a:spcBef>
              <a:buFontTx/>
              <a:buNone/>
              <a:defRPr sz="700">
                <a:solidFill>
                  <a:schemeClr val="accent1"/>
                </a:solidFill>
              </a:defRPr>
            </a:lvl3pPr>
            <a:lvl4pPr marL="0" indent="0">
              <a:spcBef>
                <a:spcPts val="0"/>
              </a:spcBef>
              <a:buFontTx/>
              <a:buNone/>
              <a:defRPr sz="700">
                <a:solidFill>
                  <a:schemeClr val="accent1"/>
                </a:solidFill>
              </a:defRPr>
            </a:lvl4pPr>
            <a:lvl5pPr marL="0" indent="0">
              <a:spcBef>
                <a:spcPts val="0"/>
              </a:spcBef>
              <a:buFontTx/>
              <a:buNone/>
              <a:defRPr sz="700">
                <a:solidFill>
                  <a:schemeClr val="accent1"/>
                </a:solidFill>
              </a:defRPr>
            </a:lvl5pPr>
          </a:lstStyle>
          <a:p>
            <a:pPr lvl="0"/>
            <a:r>
              <a:t>[Web Address]</a:t>
            </a:r>
          </a:p>
        </p:txBody>
      </p:sp>
      <p:sp>
        <p:nvSpPr>
          <p:cNvPr id="129" name="Text Placeholder 23"/>
          <p:cNvSpPr>
            <a:spLocks noGrp="1"/>
          </p:cNvSpPr>
          <p:nvPr>
            <p:ph type="body" sz="quarter" idx="97" hasCustomPrompt="1"/>
          </p:nvPr>
        </p:nvSpPr>
        <p:spPr>
          <a:xfrm>
            <a:off x="833568" y="3824915"/>
            <a:ext cx="2907792" cy="128016"/>
          </a:xfrm>
        </p:spPr>
        <p:txBody>
          <a:bodyPr lIns="0" tIns="0" rIns="0" bIns="0" anchor="b">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lvl2pPr>
            <a:lvl3pPr marL="0" indent="0">
              <a:spcBef>
                <a:spcPts val="0"/>
              </a:spcBef>
              <a:buNone/>
              <a:defRPr sz="700"/>
            </a:lvl3pPr>
            <a:lvl4pPr marL="0" indent="0">
              <a:spcBef>
                <a:spcPts val="0"/>
              </a:spcBef>
              <a:buNone/>
              <a:defRPr sz="700"/>
            </a:lvl4pPr>
            <a:lvl5pPr marL="0" indent="0">
              <a:spcBef>
                <a:spcPts val="0"/>
              </a:spcBef>
              <a:buNone/>
              <a:defRPr sz="700"/>
            </a:lvl5pPr>
          </a:lstStyle>
          <a:p>
            <a:pPr lvl="0"/>
            <a:r>
              <a:t>[Telephone] | [Email]</a:t>
            </a:r>
          </a:p>
        </p:txBody>
      </p:sp>
      <p:sp>
        <p:nvSpPr>
          <p:cNvPr id="132" name="Text Placeholder 19"/>
          <p:cNvSpPr>
            <a:spLocks noGrp="1"/>
          </p:cNvSpPr>
          <p:nvPr>
            <p:ph type="body" sz="quarter" idx="99" hasCustomPrompt="1"/>
          </p:nvPr>
        </p:nvSpPr>
        <p:spPr>
          <a:xfrm>
            <a:off x="4034490" y="2777399"/>
            <a:ext cx="2903820" cy="185282"/>
          </a:xfrm>
        </p:spPr>
        <p:txBody>
          <a:bodyPr lIns="0" tIns="0" rIns="0" bIns="0" anchor="t">
            <a:noAutofit/>
          </a:bodyPr>
          <a:lstStyle>
            <a:lvl1pPr marL="0" indent="0" algn="ctr">
              <a:lnSpc>
                <a:spcPct val="80000"/>
              </a:lnSpc>
              <a:spcBef>
                <a:spcPts val="0"/>
              </a:spcBef>
              <a:buNone/>
              <a:defRPr sz="1200" b="0" cap="all" baseline="0">
                <a:solidFill>
                  <a:schemeClr val="accent2"/>
                </a:solidFill>
                <a:latin typeface="+mn-lt"/>
              </a:defRPr>
            </a:lvl1pPr>
            <a:lvl2pPr marL="0" indent="0">
              <a:spcBef>
                <a:spcPts val="0"/>
              </a:spcBef>
              <a:buNone/>
              <a:defRPr sz="900"/>
            </a:lvl2pPr>
            <a:lvl3pPr marL="0" indent="0">
              <a:spcBef>
                <a:spcPts val="0"/>
              </a:spcBef>
              <a:buNone/>
              <a:defRPr sz="900"/>
            </a:lvl3pPr>
            <a:lvl4pPr marL="0" indent="0">
              <a:spcBef>
                <a:spcPts val="0"/>
              </a:spcBef>
              <a:buNone/>
              <a:defRPr sz="900"/>
            </a:lvl4pPr>
            <a:lvl5pPr marL="0" indent="0">
              <a:spcBef>
                <a:spcPts val="0"/>
              </a:spcBef>
              <a:buNone/>
              <a:defRPr sz="900"/>
            </a:lvl5pPr>
          </a:lstStyle>
          <a:p>
            <a:pPr lvl="0"/>
            <a:r>
              <a:t>[Name]</a:t>
            </a:r>
          </a:p>
        </p:txBody>
      </p:sp>
      <p:sp>
        <p:nvSpPr>
          <p:cNvPr id="133" name="Text Placeholder 21"/>
          <p:cNvSpPr>
            <a:spLocks noGrp="1"/>
          </p:cNvSpPr>
          <p:nvPr>
            <p:ph type="body" sz="quarter" idx="100" hasCustomPrompt="1"/>
          </p:nvPr>
        </p:nvSpPr>
        <p:spPr>
          <a:xfrm>
            <a:off x="4032758" y="2952624"/>
            <a:ext cx="2907284" cy="140384"/>
          </a:xfrm>
        </p:spPr>
        <p:txBody>
          <a:bodyPr lIns="0" tIns="0" rIns="0" bIns="0" anchor="t">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b="1">
                <a:solidFill>
                  <a:schemeClr val="tx1">
                    <a:lumMod val="65000"/>
                    <a:lumOff val="35000"/>
                  </a:schemeClr>
                </a:solidFill>
              </a:defRPr>
            </a:lvl2pPr>
            <a:lvl3pPr marL="0" indent="0">
              <a:spcBef>
                <a:spcPts val="0"/>
              </a:spcBef>
              <a:buNone/>
              <a:defRPr sz="700" b="1">
                <a:solidFill>
                  <a:schemeClr val="tx1">
                    <a:lumMod val="65000"/>
                    <a:lumOff val="35000"/>
                  </a:schemeClr>
                </a:solidFill>
              </a:defRPr>
            </a:lvl3pPr>
            <a:lvl4pPr marL="0" indent="0">
              <a:spcBef>
                <a:spcPts val="0"/>
              </a:spcBef>
              <a:buNone/>
              <a:defRPr sz="700" b="1">
                <a:solidFill>
                  <a:schemeClr val="tx1">
                    <a:lumMod val="65000"/>
                    <a:lumOff val="35000"/>
                  </a:schemeClr>
                </a:solidFill>
              </a:defRPr>
            </a:lvl4pPr>
            <a:lvl5pPr marL="0" indent="0">
              <a:spcBef>
                <a:spcPts val="0"/>
              </a:spcBef>
              <a:buNone/>
              <a:defRPr sz="700" b="1">
                <a:solidFill>
                  <a:schemeClr val="tx1">
                    <a:lumMod val="65000"/>
                    <a:lumOff val="35000"/>
                  </a:schemeClr>
                </a:solidFill>
              </a:defRPr>
            </a:lvl5pPr>
          </a:lstStyle>
          <a:p>
            <a:pPr lvl="0"/>
            <a:r>
              <a:t>[Title]</a:t>
            </a:r>
          </a:p>
        </p:txBody>
      </p:sp>
      <p:sp>
        <p:nvSpPr>
          <p:cNvPr id="134" name="Text Placeholder 31"/>
          <p:cNvSpPr>
            <a:spLocks noGrp="1"/>
          </p:cNvSpPr>
          <p:nvPr>
            <p:ph type="body" sz="quarter" idx="101" hasCustomPrompt="1"/>
          </p:nvPr>
        </p:nvSpPr>
        <p:spPr>
          <a:xfrm>
            <a:off x="4032504" y="3344554"/>
            <a:ext cx="2907792" cy="140081"/>
          </a:xfrm>
        </p:spPr>
        <p:txBody>
          <a:bodyPr lIns="0" tIns="0" rIns="0" bIns="0">
            <a:noAutofit/>
          </a:bodyPr>
          <a:lstStyle>
            <a:lvl1pPr marL="0" indent="0" algn="ctr">
              <a:lnSpc>
                <a:spcPct val="80000"/>
              </a:lnSpc>
              <a:spcBef>
                <a:spcPts val="0"/>
              </a:spcBef>
              <a:buNone/>
              <a:defRPr sz="1000" b="0" cap="none" baseline="0">
                <a:solidFill>
                  <a:schemeClr val="accent6"/>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Company]</a:t>
            </a:r>
          </a:p>
        </p:txBody>
      </p:sp>
      <p:sp>
        <p:nvSpPr>
          <p:cNvPr id="135" name="Text Placeholder 31"/>
          <p:cNvSpPr>
            <a:spLocks noGrp="1"/>
          </p:cNvSpPr>
          <p:nvPr>
            <p:ph type="body" sz="quarter" idx="102" hasCustomPrompt="1"/>
          </p:nvPr>
        </p:nvSpPr>
        <p:spPr>
          <a:xfrm>
            <a:off x="4032504" y="3493489"/>
            <a:ext cx="2907792" cy="128016"/>
          </a:xfrm>
        </p:spPr>
        <p:txBody>
          <a:bodyPr lIns="0" tIns="0" rIns="0" bIns="0">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Street Address, City, ST ZIP Code]</a:t>
            </a:r>
          </a:p>
        </p:txBody>
      </p:sp>
      <p:sp>
        <p:nvSpPr>
          <p:cNvPr id="136" name="Text Placeholder 27"/>
          <p:cNvSpPr>
            <a:spLocks noGrp="1"/>
          </p:cNvSpPr>
          <p:nvPr>
            <p:ph type="body" sz="quarter" idx="103" hasCustomPrompt="1"/>
          </p:nvPr>
        </p:nvSpPr>
        <p:spPr>
          <a:xfrm>
            <a:off x="4032504" y="3634409"/>
            <a:ext cx="2907792" cy="128016"/>
          </a:xfrm>
        </p:spPr>
        <p:txBody>
          <a:bodyPr lIns="0" tIns="0" rIns="0" bIns="0" anchor="t">
            <a:noAutofit/>
          </a:bodyPr>
          <a:lstStyle>
            <a:lvl1pPr marL="0" indent="0" algn="ctr">
              <a:lnSpc>
                <a:spcPct val="80000"/>
              </a:lnSpc>
              <a:spcBef>
                <a:spcPts val="0"/>
              </a:spcBef>
              <a:buFontTx/>
              <a:buNone/>
              <a:defRPr sz="900" b="0" baseline="0">
                <a:solidFill>
                  <a:schemeClr val="accent5"/>
                </a:solidFill>
                <a:latin typeface="+mn-lt"/>
              </a:defRPr>
            </a:lvl1pPr>
            <a:lvl2pPr marL="0" indent="0">
              <a:spcBef>
                <a:spcPts val="0"/>
              </a:spcBef>
              <a:buFontTx/>
              <a:buNone/>
              <a:defRPr sz="700">
                <a:solidFill>
                  <a:schemeClr val="accent1"/>
                </a:solidFill>
              </a:defRPr>
            </a:lvl2pPr>
            <a:lvl3pPr marL="0" indent="0">
              <a:spcBef>
                <a:spcPts val="0"/>
              </a:spcBef>
              <a:buFontTx/>
              <a:buNone/>
              <a:defRPr sz="700">
                <a:solidFill>
                  <a:schemeClr val="accent1"/>
                </a:solidFill>
              </a:defRPr>
            </a:lvl3pPr>
            <a:lvl4pPr marL="0" indent="0">
              <a:spcBef>
                <a:spcPts val="0"/>
              </a:spcBef>
              <a:buFontTx/>
              <a:buNone/>
              <a:defRPr sz="700">
                <a:solidFill>
                  <a:schemeClr val="accent1"/>
                </a:solidFill>
              </a:defRPr>
            </a:lvl4pPr>
            <a:lvl5pPr marL="0" indent="0">
              <a:spcBef>
                <a:spcPts val="0"/>
              </a:spcBef>
              <a:buFontTx/>
              <a:buNone/>
              <a:defRPr sz="700">
                <a:solidFill>
                  <a:schemeClr val="accent1"/>
                </a:solidFill>
              </a:defRPr>
            </a:lvl5pPr>
          </a:lstStyle>
          <a:p>
            <a:pPr lvl="0"/>
            <a:r>
              <a:t>[Web Address]</a:t>
            </a:r>
          </a:p>
        </p:txBody>
      </p:sp>
      <p:sp>
        <p:nvSpPr>
          <p:cNvPr id="138" name="Text Placeholder 23"/>
          <p:cNvSpPr>
            <a:spLocks noGrp="1"/>
          </p:cNvSpPr>
          <p:nvPr>
            <p:ph type="body" sz="quarter" idx="104" hasCustomPrompt="1"/>
          </p:nvPr>
        </p:nvSpPr>
        <p:spPr>
          <a:xfrm>
            <a:off x="4032504" y="3824915"/>
            <a:ext cx="2907792" cy="128016"/>
          </a:xfrm>
        </p:spPr>
        <p:txBody>
          <a:bodyPr lIns="0" tIns="0" rIns="0" bIns="0" anchor="b">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lvl2pPr>
            <a:lvl3pPr marL="0" indent="0">
              <a:spcBef>
                <a:spcPts val="0"/>
              </a:spcBef>
              <a:buNone/>
              <a:defRPr sz="700"/>
            </a:lvl3pPr>
            <a:lvl4pPr marL="0" indent="0">
              <a:spcBef>
                <a:spcPts val="0"/>
              </a:spcBef>
              <a:buNone/>
              <a:defRPr sz="700"/>
            </a:lvl4pPr>
            <a:lvl5pPr marL="0" indent="0">
              <a:spcBef>
                <a:spcPts val="0"/>
              </a:spcBef>
              <a:buNone/>
              <a:defRPr sz="700"/>
            </a:lvl5pPr>
          </a:lstStyle>
          <a:p>
            <a:pPr lvl="0"/>
            <a:r>
              <a:t>[Telephone] | [Email]</a:t>
            </a:r>
          </a:p>
        </p:txBody>
      </p:sp>
      <p:sp>
        <p:nvSpPr>
          <p:cNvPr id="141" name="Text Placeholder 19"/>
          <p:cNvSpPr>
            <a:spLocks noGrp="1"/>
          </p:cNvSpPr>
          <p:nvPr>
            <p:ph type="body" sz="quarter" idx="106" hasCustomPrompt="1"/>
          </p:nvPr>
        </p:nvSpPr>
        <p:spPr>
          <a:xfrm>
            <a:off x="835300" y="4607178"/>
            <a:ext cx="2903820" cy="185282"/>
          </a:xfrm>
        </p:spPr>
        <p:txBody>
          <a:bodyPr lIns="0" tIns="0" rIns="0" bIns="0" anchor="t">
            <a:noAutofit/>
          </a:bodyPr>
          <a:lstStyle>
            <a:lvl1pPr marL="0" indent="0" algn="ctr">
              <a:lnSpc>
                <a:spcPct val="80000"/>
              </a:lnSpc>
              <a:spcBef>
                <a:spcPts val="0"/>
              </a:spcBef>
              <a:buNone/>
              <a:defRPr sz="1200" b="0" cap="all" baseline="0">
                <a:solidFill>
                  <a:schemeClr val="accent2"/>
                </a:solidFill>
                <a:latin typeface="+mn-lt"/>
              </a:defRPr>
            </a:lvl1pPr>
            <a:lvl2pPr marL="0" indent="0">
              <a:spcBef>
                <a:spcPts val="0"/>
              </a:spcBef>
              <a:buNone/>
              <a:defRPr sz="900"/>
            </a:lvl2pPr>
            <a:lvl3pPr marL="0" indent="0">
              <a:spcBef>
                <a:spcPts val="0"/>
              </a:spcBef>
              <a:buNone/>
              <a:defRPr sz="900"/>
            </a:lvl3pPr>
            <a:lvl4pPr marL="0" indent="0">
              <a:spcBef>
                <a:spcPts val="0"/>
              </a:spcBef>
              <a:buNone/>
              <a:defRPr sz="900"/>
            </a:lvl4pPr>
            <a:lvl5pPr marL="0" indent="0">
              <a:spcBef>
                <a:spcPts val="0"/>
              </a:spcBef>
              <a:buNone/>
              <a:defRPr sz="900"/>
            </a:lvl5pPr>
          </a:lstStyle>
          <a:p>
            <a:pPr lvl="0"/>
            <a:r>
              <a:t>[Name]</a:t>
            </a:r>
          </a:p>
        </p:txBody>
      </p:sp>
      <p:sp>
        <p:nvSpPr>
          <p:cNvPr id="142" name="Text Placeholder 21"/>
          <p:cNvSpPr>
            <a:spLocks noGrp="1"/>
          </p:cNvSpPr>
          <p:nvPr>
            <p:ph type="body" sz="quarter" idx="107" hasCustomPrompt="1"/>
          </p:nvPr>
        </p:nvSpPr>
        <p:spPr>
          <a:xfrm>
            <a:off x="833568" y="4782403"/>
            <a:ext cx="2907284" cy="140384"/>
          </a:xfrm>
        </p:spPr>
        <p:txBody>
          <a:bodyPr lIns="0" tIns="0" rIns="0" bIns="0" anchor="t">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b="1">
                <a:solidFill>
                  <a:schemeClr val="tx1">
                    <a:lumMod val="65000"/>
                    <a:lumOff val="35000"/>
                  </a:schemeClr>
                </a:solidFill>
              </a:defRPr>
            </a:lvl2pPr>
            <a:lvl3pPr marL="0" indent="0">
              <a:spcBef>
                <a:spcPts val="0"/>
              </a:spcBef>
              <a:buNone/>
              <a:defRPr sz="700" b="1">
                <a:solidFill>
                  <a:schemeClr val="tx1">
                    <a:lumMod val="65000"/>
                    <a:lumOff val="35000"/>
                  </a:schemeClr>
                </a:solidFill>
              </a:defRPr>
            </a:lvl3pPr>
            <a:lvl4pPr marL="0" indent="0">
              <a:spcBef>
                <a:spcPts val="0"/>
              </a:spcBef>
              <a:buNone/>
              <a:defRPr sz="700" b="1">
                <a:solidFill>
                  <a:schemeClr val="tx1">
                    <a:lumMod val="65000"/>
                    <a:lumOff val="35000"/>
                  </a:schemeClr>
                </a:solidFill>
              </a:defRPr>
            </a:lvl4pPr>
            <a:lvl5pPr marL="0" indent="0">
              <a:spcBef>
                <a:spcPts val="0"/>
              </a:spcBef>
              <a:buNone/>
              <a:defRPr sz="700" b="1">
                <a:solidFill>
                  <a:schemeClr val="tx1">
                    <a:lumMod val="65000"/>
                    <a:lumOff val="35000"/>
                  </a:schemeClr>
                </a:solidFill>
              </a:defRPr>
            </a:lvl5pPr>
          </a:lstStyle>
          <a:p>
            <a:pPr lvl="0"/>
            <a:r>
              <a:t>[Title]</a:t>
            </a:r>
          </a:p>
        </p:txBody>
      </p:sp>
      <p:sp>
        <p:nvSpPr>
          <p:cNvPr id="143" name="Text Placeholder 31"/>
          <p:cNvSpPr>
            <a:spLocks noGrp="1"/>
          </p:cNvSpPr>
          <p:nvPr>
            <p:ph type="body" sz="quarter" idx="108" hasCustomPrompt="1"/>
          </p:nvPr>
        </p:nvSpPr>
        <p:spPr>
          <a:xfrm>
            <a:off x="833314" y="5174333"/>
            <a:ext cx="2907792" cy="140081"/>
          </a:xfrm>
        </p:spPr>
        <p:txBody>
          <a:bodyPr lIns="0" tIns="0" rIns="0" bIns="0">
            <a:noAutofit/>
          </a:bodyPr>
          <a:lstStyle>
            <a:lvl1pPr marL="0" indent="0" algn="ctr">
              <a:lnSpc>
                <a:spcPct val="80000"/>
              </a:lnSpc>
              <a:spcBef>
                <a:spcPts val="0"/>
              </a:spcBef>
              <a:buNone/>
              <a:defRPr sz="1000" b="0" cap="none" baseline="0">
                <a:solidFill>
                  <a:schemeClr val="accent6"/>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Company]</a:t>
            </a:r>
          </a:p>
        </p:txBody>
      </p:sp>
      <p:sp>
        <p:nvSpPr>
          <p:cNvPr id="144" name="Text Placeholder 31"/>
          <p:cNvSpPr>
            <a:spLocks noGrp="1"/>
          </p:cNvSpPr>
          <p:nvPr>
            <p:ph type="body" sz="quarter" idx="109" hasCustomPrompt="1"/>
          </p:nvPr>
        </p:nvSpPr>
        <p:spPr>
          <a:xfrm>
            <a:off x="833314" y="5323268"/>
            <a:ext cx="2907792" cy="128016"/>
          </a:xfrm>
        </p:spPr>
        <p:txBody>
          <a:bodyPr lIns="0" tIns="0" rIns="0" bIns="0">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Street Address, City, ST ZIP Code]</a:t>
            </a:r>
          </a:p>
        </p:txBody>
      </p:sp>
      <p:sp>
        <p:nvSpPr>
          <p:cNvPr id="145" name="Text Placeholder 27"/>
          <p:cNvSpPr>
            <a:spLocks noGrp="1"/>
          </p:cNvSpPr>
          <p:nvPr>
            <p:ph type="body" sz="quarter" idx="110" hasCustomPrompt="1"/>
          </p:nvPr>
        </p:nvSpPr>
        <p:spPr>
          <a:xfrm>
            <a:off x="833314" y="5464188"/>
            <a:ext cx="2907792" cy="128016"/>
          </a:xfrm>
        </p:spPr>
        <p:txBody>
          <a:bodyPr lIns="0" tIns="0" rIns="0" bIns="0" anchor="t">
            <a:noAutofit/>
          </a:bodyPr>
          <a:lstStyle>
            <a:lvl1pPr marL="0" indent="0" algn="ctr">
              <a:lnSpc>
                <a:spcPct val="80000"/>
              </a:lnSpc>
              <a:spcBef>
                <a:spcPts val="0"/>
              </a:spcBef>
              <a:buFontTx/>
              <a:buNone/>
              <a:defRPr sz="900" b="0" baseline="0">
                <a:solidFill>
                  <a:schemeClr val="accent5"/>
                </a:solidFill>
                <a:latin typeface="+mn-lt"/>
              </a:defRPr>
            </a:lvl1pPr>
            <a:lvl2pPr marL="0" indent="0">
              <a:spcBef>
                <a:spcPts val="0"/>
              </a:spcBef>
              <a:buFontTx/>
              <a:buNone/>
              <a:defRPr sz="700">
                <a:solidFill>
                  <a:schemeClr val="accent1"/>
                </a:solidFill>
              </a:defRPr>
            </a:lvl2pPr>
            <a:lvl3pPr marL="0" indent="0">
              <a:spcBef>
                <a:spcPts val="0"/>
              </a:spcBef>
              <a:buFontTx/>
              <a:buNone/>
              <a:defRPr sz="700">
                <a:solidFill>
                  <a:schemeClr val="accent1"/>
                </a:solidFill>
              </a:defRPr>
            </a:lvl3pPr>
            <a:lvl4pPr marL="0" indent="0">
              <a:spcBef>
                <a:spcPts val="0"/>
              </a:spcBef>
              <a:buFontTx/>
              <a:buNone/>
              <a:defRPr sz="700">
                <a:solidFill>
                  <a:schemeClr val="accent1"/>
                </a:solidFill>
              </a:defRPr>
            </a:lvl4pPr>
            <a:lvl5pPr marL="0" indent="0">
              <a:spcBef>
                <a:spcPts val="0"/>
              </a:spcBef>
              <a:buFontTx/>
              <a:buNone/>
              <a:defRPr sz="700">
                <a:solidFill>
                  <a:schemeClr val="accent1"/>
                </a:solidFill>
              </a:defRPr>
            </a:lvl5pPr>
          </a:lstStyle>
          <a:p>
            <a:pPr lvl="0"/>
            <a:r>
              <a:t>[Web Address]</a:t>
            </a:r>
          </a:p>
        </p:txBody>
      </p:sp>
      <p:sp>
        <p:nvSpPr>
          <p:cNvPr id="146" name="Text Placeholder 23"/>
          <p:cNvSpPr>
            <a:spLocks noGrp="1"/>
          </p:cNvSpPr>
          <p:nvPr>
            <p:ph type="body" sz="quarter" idx="111" hasCustomPrompt="1"/>
          </p:nvPr>
        </p:nvSpPr>
        <p:spPr>
          <a:xfrm>
            <a:off x="833568" y="5654694"/>
            <a:ext cx="2907792" cy="128016"/>
          </a:xfrm>
        </p:spPr>
        <p:txBody>
          <a:bodyPr lIns="0" tIns="0" rIns="0" bIns="0" anchor="b">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lvl2pPr>
            <a:lvl3pPr marL="0" indent="0">
              <a:spcBef>
                <a:spcPts val="0"/>
              </a:spcBef>
              <a:buNone/>
              <a:defRPr sz="700"/>
            </a:lvl3pPr>
            <a:lvl4pPr marL="0" indent="0">
              <a:spcBef>
                <a:spcPts val="0"/>
              </a:spcBef>
              <a:buNone/>
              <a:defRPr sz="700"/>
            </a:lvl4pPr>
            <a:lvl5pPr marL="0" indent="0">
              <a:spcBef>
                <a:spcPts val="0"/>
              </a:spcBef>
              <a:buNone/>
              <a:defRPr sz="700"/>
            </a:lvl5pPr>
          </a:lstStyle>
          <a:p>
            <a:pPr lvl="0"/>
            <a:r>
              <a:t>[Telephone] | [Email]</a:t>
            </a:r>
          </a:p>
        </p:txBody>
      </p:sp>
      <p:sp>
        <p:nvSpPr>
          <p:cNvPr id="150" name="Text Placeholder 19"/>
          <p:cNvSpPr>
            <a:spLocks noGrp="1"/>
          </p:cNvSpPr>
          <p:nvPr>
            <p:ph type="body" sz="quarter" idx="113" hasCustomPrompt="1"/>
          </p:nvPr>
        </p:nvSpPr>
        <p:spPr>
          <a:xfrm>
            <a:off x="4034490" y="4607178"/>
            <a:ext cx="2903820" cy="185282"/>
          </a:xfrm>
        </p:spPr>
        <p:txBody>
          <a:bodyPr lIns="0" tIns="0" rIns="0" bIns="0" anchor="t">
            <a:noAutofit/>
          </a:bodyPr>
          <a:lstStyle>
            <a:lvl1pPr marL="0" indent="0" algn="ctr">
              <a:lnSpc>
                <a:spcPct val="80000"/>
              </a:lnSpc>
              <a:spcBef>
                <a:spcPts val="0"/>
              </a:spcBef>
              <a:buNone/>
              <a:defRPr sz="1200" b="0" cap="all" baseline="0">
                <a:solidFill>
                  <a:schemeClr val="accent2"/>
                </a:solidFill>
                <a:latin typeface="+mn-lt"/>
              </a:defRPr>
            </a:lvl1pPr>
            <a:lvl2pPr marL="0" indent="0">
              <a:spcBef>
                <a:spcPts val="0"/>
              </a:spcBef>
              <a:buNone/>
              <a:defRPr sz="900"/>
            </a:lvl2pPr>
            <a:lvl3pPr marL="0" indent="0">
              <a:spcBef>
                <a:spcPts val="0"/>
              </a:spcBef>
              <a:buNone/>
              <a:defRPr sz="900"/>
            </a:lvl3pPr>
            <a:lvl4pPr marL="0" indent="0">
              <a:spcBef>
                <a:spcPts val="0"/>
              </a:spcBef>
              <a:buNone/>
              <a:defRPr sz="900"/>
            </a:lvl4pPr>
            <a:lvl5pPr marL="0" indent="0">
              <a:spcBef>
                <a:spcPts val="0"/>
              </a:spcBef>
              <a:buNone/>
              <a:defRPr sz="900"/>
            </a:lvl5pPr>
          </a:lstStyle>
          <a:p>
            <a:pPr lvl="0"/>
            <a:r>
              <a:t>[Name]</a:t>
            </a:r>
          </a:p>
        </p:txBody>
      </p:sp>
      <p:sp>
        <p:nvSpPr>
          <p:cNvPr id="151" name="Text Placeholder 21"/>
          <p:cNvSpPr>
            <a:spLocks noGrp="1"/>
          </p:cNvSpPr>
          <p:nvPr>
            <p:ph type="body" sz="quarter" idx="114" hasCustomPrompt="1"/>
          </p:nvPr>
        </p:nvSpPr>
        <p:spPr>
          <a:xfrm>
            <a:off x="4032758" y="4782403"/>
            <a:ext cx="2907284" cy="140384"/>
          </a:xfrm>
        </p:spPr>
        <p:txBody>
          <a:bodyPr lIns="0" tIns="0" rIns="0" bIns="0" anchor="t">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b="1">
                <a:solidFill>
                  <a:schemeClr val="tx1">
                    <a:lumMod val="65000"/>
                    <a:lumOff val="35000"/>
                  </a:schemeClr>
                </a:solidFill>
              </a:defRPr>
            </a:lvl2pPr>
            <a:lvl3pPr marL="0" indent="0">
              <a:spcBef>
                <a:spcPts val="0"/>
              </a:spcBef>
              <a:buNone/>
              <a:defRPr sz="700" b="1">
                <a:solidFill>
                  <a:schemeClr val="tx1">
                    <a:lumMod val="65000"/>
                    <a:lumOff val="35000"/>
                  </a:schemeClr>
                </a:solidFill>
              </a:defRPr>
            </a:lvl3pPr>
            <a:lvl4pPr marL="0" indent="0">
              <a:spcBef>
                <a:spcPts val="0"/>
              </a:spcBef>
              <a:buNone/>
              <a:defRPr sz="700" b="1">
                <a:solidFill>
                  <a:schemeClr val="tx1">
                    <a:lumMod val="65000"/>
                    <a:lumOff val="35000"/>
                  </a:schemeClr>
                </a:solidFill>
              </a:defRPr>
            </a:lvl4pPr>
            <a:lvl5pPr marL="0" indent="0">
              <a:spcBef>
                <a:spcPts val="0"/>
              </a:spcBef>
              <a:buNone/>
              <a:defRPr sz="700" b="1">
                <a:solidFill>
                  <a:schemeClr val="tx1">
                    <a:lumMod val="65000"/>
                    <a:lumOff val="35000"/>
                  </a:schemeClr>
                </a:solidFill>
              </a:defRPr>
            </a:lvl5pPr>
          </a:lstStyle>
          <a:p>
            <a:pPr lvl="0"/>
            <a:r>
              <a:t>[Title]</a:t>
            </a:r>
          </a:p>
        </p:txBody>
      </p:sp>
      <p:sp>
        <p:nvSpPr>
          <p:cNvPr id="152" name="Text Placeholder 31"/>
          <p:cNvSpPr>
            <a:spLocks noGrp="1"/>
          </p:cNvSpPr>
          <p:nvPr>
            <p:ph type="body" sz="quarter" idx="115" hasCustomPrompt="1"/>
          </p:nvPr>
        </p:nvSpPr>
        <p:spPr>
          <a:xfrm>
            <a:off x="4032504" y="5174333"/>
            <a:ext cx="2907792" cy="140081"/>
          </a:xfrm>
        </p:spPr>
        <p:txBody>
          <a:bodyPr lIns="0" tIns="0" rIns="0" bIns="0">
            <a:noAutofit/>
          </a:bodyPr>
          <a:lstStyle>
            <a:lvl1pPr marL="0" indent="0" algn="ctr">
              <a:lnSpc>
                <a:spcPct val="80000"/>
              </a:lnSpc>
              <a:spcBef>
                <a:spcPts val="0"/>
              </a:spcBef>
              <a:buNone/>
              <a:defRPr sz="1000" b="0" cap="none" baseline="0">
                <a:solidFill>
                  <a:schemeClr val="accent6"/>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Company]</a:t>
            </a:r>
          </a:p>
        </p:txBody>
      </p:sp>
      <p:sp>
        <p:nvSpPr>
          <p:cNvPr id="153" name="Text Placeholder 31"/>
          <p:cNvSpPr>
            <a:spLocks noGrp="1"/>
          </p:cNvSpPr>
          <p:nvPr>
            <p:ph type="body" sz="quarter" idx="116" hasCustomPrompt="1"/>
          </p:nvPr>
        </p:nvSpPr>
        <p:spPr>
          <a:xfrm>
            <a:off x="4032504" y="5323268"/>
            <a:ext cx="2907792" cy="128016"/>
          </a:xfrm>
        </p:spPr>
        <p:txBody>
          <a:bodyPr lIns="0" tIns="0" rIns="0" bIns="0">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Street Address, City, ST ZIP Code]</a:t>
            </a:r>
          </a:p>
        </p:txBody>
      </p:sp>
      <p:sp>
        <p:nvSpPr>
          <p:cNvPr id="154" name="Text Placeholder 27"/>
          <p:cNvSpPr>
            <a:spLocks noGrp="1"/>
          </p:cNvSpPr>
          <p:nvPr>
            <p:ph type="body" sz="quarter" idx="117" hasCustomPrompt="1"/>
          </p:nvPr>
        </p:nvSpPr>
        <p:spPr>
          <a:xfrm>
            <a:off x="4032504" y="5464188"/>
            <a:ext cx="2907792" cy="128016"/>
          </a:xfrm>
        </p:spPr>
        <p:txBody>
          <a:bodyPr lIns="0" tIns="0" rIns="0" bIns="0" anchor="t">
            <a:noAutofit/>
          </a:bodyPr>
          <a:lstStyle>
            <a:lvl1pPr marL="0" indent="0" algn="ctr">
              <a:lnSpc>
                <a:spcPct val="80000"/>
              </a:lnSpc>
              <a:spcBef>
                <a:spcPts val="0"/>
              </a:spcBef>
              <a:buFontTx/>
              <a:buNone/>
              <a:defRPr sz="900" b="0" baseline="0">
                <a:solidFill>
                  <a:schemeClr val="accent5"/>
                </a:solidFill>
                <a:latin typeface="+mn-lt"/>
              </a:defRPr>
            </a:lvl1pPr>
            <a:lvl2pPr marL="0" indent="0">
              <a:spcBef>
                <a:spcPts val="0"/>
              </a:spcBef>
              <a:buFontTx/>
              <a:buNone/>
              <a:defRPr sz="700">
                <a:solidFill>
                  <a:schemeClr val="accent1"/>
                </a:solidFill>
              </a:defRPr>
            </a:lvl2pPr>
            <a:lvl3pPr marL="0" indent="0">
              <a:spcBef>
                <a:spcPts val="0"/>
              </a:spcBef>
              <a:buFontTx/>
              <a:buNone/>
              <a:defRPr sz="700">
                <a:solidFill>
                  <a:schemeClr val="accent1"/>
                </a:solidFill>
              </a:defRPr>
            </a:lvl3pPr>
            <a:lvl4pPr marL="0" indent="0">
              <a:spcBef>
                <a:spcPts val="0"/>
              </a:spcBef>
              <a:buFontTx/>
              <a:buNone/>
              <a:defRPr sz="700">
                <a:solidFill>
                  <a:schemeClr val="accent1"/>
                </a:solidFill>
              </a:defRPr>
            </a:lvl4pPr>
            <a:lvl5pPr marL="0" indent="0">
              <a:spcBef>
                <a:spcPts val="0"/>
              </a:spcBef>
              <a:buFontTx/>
              <a:buNone/>
              <a:defRPr sz="700">
                <a:solidFill>
                  <a:schemeClr val="accent1"/>
                </a:solidFill>
              </a:defRPr>
            </a:lvl5pPr>
          </a:lstStyle>
          <a:p>
            <a:pPr lvl="0"/>
            <a:r>
              <a:t>[Web Address]</a:t>
            </a:r>
          </a:p>
        </p:txBody>
      </p:sp>
      <p:sp>
        <p:nvSpPr>
          <p:cNvPr id="155" name="Text Placeholder 23"/>
          <p:cNvSpPr>
            <a:spLocks noGrp="1"/>
          </p:cNvSpPr>
          <p:nvPr>
            <p:ph type="body" sz="quarter" idx="118" hasCustomPrompt="1"/>
          </p:nvPr>
        </p:nvSpPr>
        <p:spPr>
          <a:xfrm>
            <a:off x="4032504" y="5654694"/>
            <a:ext cx="2907792" cy="128016"/>
          </a:xfrm>
        </p:spPr>
        <p:txBody>
          <a:bodyPr lIns="0" tIns="0" rIns="0" bIns="0" anchor="b">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lvl2pPr>
            <a:lvl3pPr marL="0" indent="0">
              <a:spcBef>
                <a:spcPts val="0"/>
              </a:spcBef>
              <a:buNone/>
              <a:defRPr sz="700"/>
            </a:lvl3pPr>
            <a:lvl4pPr marL="0" indent="0">
              <a:spcBef>
                <a:spcPts val="0"/>
              </a:spcBef>
              <a:buNone/>
              <a:defRPr sz="700"/>
            </a:lvl4pPr>
            <a:lvl5pPr marL="0" indent="0">
              <a:spcBef>
                <a:spcPts val="0"/>
              </a:spcBef>
              <a:buNone/>
              <a:defRPr sz="700"/>
            </a:lvl5pPr>
          </a:lstStyle>
          <a:p>
            <a:pPr lvl="0"/>
            <a:r>
              <a:t>[Telephone] | [Email]</a:t>
            </a:r>
          </a:p>
        </p:txBody>
      </p:sp>
      <p:sp>
        <p:nvSpPr>
          <p:cNvPr id="158" name="Text Placeholder 19"/>
          <p:cNvSpPr>
            <a:spLocks noGrp="1"/>
          </p:cNvSpPr>
          <p:nvPr>
            <p:ph type="body" sz="quarter" idx="120" hasCustomPrompt="1"/>
          </p:nvPr>
        </p:nvSpPr>
        <p:spPr>
          <a:xfrm>
            <a:off x="835300" y="6436923"/>
            <a:ext cx="2903820" cy="185282"/>
          </a:xfrm>
        </p:spPr>
        <p:txBody>
          <a:bodyPr lIns="0" tIns="0" rIns="0" bIns="0" anchor="t">
            <a:noAutofit/>
          </a:bodyPr>
          <a:lstStyle>
            <a:lvl1pPr marL="0" indent="0" algn="ctr">
              <a:lnSpc>
                <a:spcPct val="80000"/>
              </a:lnSpc>
              <a:spcBef>
                <a:spcPts val="0"/>
              </a:spcBef>
              <a:buNone/>
              <a:defRPr sz="1200" b="0" cap="all" baseline="0">
                <a:solidFill>
                  <a:schemeClr val="accent2"/>
                </a:solidFill>
                <a:latin typeface="+mn-lt"/>
              </a:defRPr>
            </a:lvl1pPr>
            <a:lvl2pPr marL="0" indent="0">
              <a:spcBef>
                <a:spcPts val="0"/>
              </a:spcBef>
              <a:buNone/>
              <a:defRPr sz="900"/>
            </a:lvl2pPr>
            <a:lvl3pPr marL="0" indent="0">
              <a:spcBef>
                <a:spcPts val="0"/>
              </a:spcBef>
              <a:buNone/>
              <a:defRPr sz="900"/>
            </a:lvl3pPr>
            <a:lvl4pPr marL="0" indent="0">
              <a:spcBef>
                <a:spcPts val="0"/>
              </a:spcBef>
              <a:buNone/>
              <a:defRPr sz="900"/>
            </a:lvl4pPr>
            <a:lvl5pPr marL="0" indent="0">
              <a:spcBef>
                <a:spcPts val="0"/>
              </a:spcBef>
              <a:buNone/>
              <a:defRPr sz="900"/>
            </a:lvl5pPr>
          </a:lstStyle>
          <a:p>
            <a:pPr lvl="0"/>
            <a:r>
              <a:t>[Name]</a:t>
            </a:r>
          </a:p>
        </p:txBody>
      </p:sp>
      <p:sp>
        <p:nvSpPr>
          <p:cNvPr id="159" name="Text Placeholder 21"/>
          <p:cNvSpPr>
            <a:spLocks noGrp="1"/>
          </p:cNvSpPr>
          <p:nvPr>
            <p:ph type="body" sz="quarter" idx="121" hasCustomPrompt="1"/>
          </p:nvPr>
        </p:nvSpPr>
        <p:spPr>
          <a:xfrm>
            <a:off x="833568" y="6612148"/>
            <a:ext cx="2907284" cy="140384"/>
          </a:xfrm>
        </p:spPr>
        <p:txBody>
          <a:bodyPr lIns="0" tIns="0" rIns="0" bIns="0" anchor="t">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b="1">
                <a:solidFill>
                  <a:schemeClr val="tx1">
                    <a:lumMod val="65000"/>
                    <a:lumOff val="35000"/>
                  </a:schemeClr>
                </a:solidFill>
              </a:defRPr>
            </a:lvl2pPr>
            <a:lvl3pPr marL="0" indent="0">
              <a:spcBef>
                <a:spcPts val="0"/>
              </a:spcBef>
              <a:buNone/>
              <a:defRPr sz="700" b="1">
                <a:solidFill>
                  <a:schemeClr val="tx1">
                    <a:lumMod val="65000"/>
                    <a:lumOff val="35000"/>
                  </a:schemeClr>
                </a:solidFill>
              </a:defRPr>
            </a:lvl3pPr>
            <a:lvl4pPr marL="0" indent="0">
              <a:spcBef>
                <a:spcPts val="0"/>
              </a:spcBef>
              <a:buNone/>
              <a:defRPr sz="700" b="1">
                <a:solidFill>
                  <a:schemeClr val="tx1">
                    <a:lumMod val="65000"/>
                    <a:lumOff val="35000"/>
                  </a:schemeClr>
                </a:solidFill>
              </a:defRPr>
            </a:lvl4pPr>
            <a:lvl5pPr marL="0" indent="0">
              <a:spcBef>
                <a:spcPts val="0"/>
              </a:spcBef>
              <a:buNone/>
              <a:defRPr sz="700" b="1">
                <a:solidFill>
                  <a:schemeClr val="tx1">
                    <a:lumMod val="65000"/>
                    <a:lumOff val="35000"/>
                  </a:schemeClr>
                </a:solidFill>
              </a:defRPr>
            </a:lvl5pPr>
          </a:lstStyle>
          <a:p>
            <a:pPr lvl="0"/>
            <a:r>
              <a:t>[Title]</a:t>
            </a:r>
          </a:p>
        </p:txBody>
      </p:sp>
      <p:sp>
        <p:nvSpPr>
          <p:cNvPr id="160" name="Text Placeholder 31"/>
          <p:cNvSpPr>
            <a:spLocks noGrp="1"/>
          </p:cNvSpPr>
          <p:nvPr>
            <p:ph type="body" sz="quarter" idx="122" hasCustomPrompt="1"/>
          </p:nvPr>
        </p:nvSpPr>
        <p:spPr>
          <a:xfrm>
            <a:off x="833314" y="7004078"/>
            <a:ext cx="2907792" cy="140081"/>
          </a:xfrm>
        </p:spPr>
        <p:txBody>
          <a:bodyPr lIns="0" tIns="0" rIns="0" bIns="0">
            <a:noAutofit/>
          </a:bodyPr>
          <a:lstStyle>
            <a:lvl1pPr marL="0" indent="0" algn="ctr">
              <a:lnSpc>
                <a:spcPct val="80000"/>
              </a:lnSpc>
              <a:spcBef>
                <a:spcPts val="0"/>
              </a:spcBef>
              <a:buNone/>
              <a:defRPr sz="1000" b="0" cap="none" baseline="0">
                <a:solidFill>
                  <a:schemeClr val="accent6"/>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Company]</a:t>
            </a:r>
          </a:p>
        </p:txBody>
      </p:sp>
      <p:sp>
        <p:nvSpPr>
          <p:cNvPr id="161" name="Text Placeholder 31"/>
          <p:cNvSpPr>
            <a:spLocks noGrp="1"/>
          </p:cNvSpPr>
          <p:nvPr>
            <p:ph type="body" sz="quarter" idx="123" hasCustomPrompt="1"/>
          </p:nvPr>
        </p:nvSpPr>
        <p:spPr>
          <a:xfrm>
            <a:off x="833314" y="7153013"/>
            <a:ext cx="2907792" cy="128016"/>
          </a:xfrm>
        </p:spPr>
        <p:txBody>
          <a:bodyPr lIns="0" tIns="0" rIns="0" bIns="0">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Street Address, City, ST ZIP Code]</a:t>
            </a:r>
          </a:p>
        </p:txBody>
      </p:sp>
      <p:sp>
        <p:nvSpPr>
          <p:cNvPr id="162" name="Text Placeholder 27"/>
          <p:cNvSpPr>
            <a:spLocks noGrp="1"/>
          </p:cNvSpPr>
          <p:nvPr>
            <p:ph type="body" sz="quarter" idx="124" hasCustomPrompt="1"/>
          </p:nvPr>
        </p:nvSpPr>
        <p:spPr>
          <a:xfrm>
            <a:off x="833314" y="7293933"/>
            <a:ext cx="2907792" cy="128016"/>
          </a:xfrm>
        </p:spPr>
        <p:txBody>
          <a:bodyPr lIns="0" tIns="0" rIns="0" bIns="0" anchor="t">
            <a:noAutofit/>
          </a:bodyPr>
          <a:lstStyle>
            <a:lvl1pPr marL="0" indent="0" algn="ctr">
              <a:lnSpc>
                <a:spcPct val="80000"/>
              </a:lnSpc>
              <a:spcBef>
                <a:spcPts val="0"/>
              </a:spcBef>
              <a:buFontTx/>
              <a:buNone/>
              <a:defRPr sz="900" b="0" baseline="0">
                <a:solidFill>
                  <a:schemeClr val="accent5"/>
                </a:solidFill>
                <a:latin typeface="+mn-lt"/>
              </a:defRPr>
            </a:lvl1pPr>
            <a:lvl2pPr marL="0" indent="0">
              <a:spcBef>
                <a:spcPts val="0"/>
              </a:spcBef>
              <a:buFontTx/>
              <a:buNone/>
              <a:defRPr sz="700">
                <a:solidFill>
                  <a:schemeClr val="accent1"/>
                </a:solidFill>
              </a:defRPr>
            </a:lvl2pPr>
            <a:lvl3pPr marL="0" indent="0">
              <a:spcBef>
                <a:spcPts val="0"/>
              </a:spcBef>
              <a:buFontTx/>
              <a:buNone/>
              <a:defRPr sz="700">
                <a:solidFill>
                  <a:schemeClr val="accent1"/>
                </a:solidFill>
              </a:defRPr>
            </a:lvl3pPr>
            <a:lvl4pPr marL="0" indent="0">
              <a:spcBef>
                <a:spcPts val="0"/>
              </a:spcBef>
              <a:buFontTx/>
              <a:buNone/>
              <a:defRPr sz="700">
                <a:solidFill>
                  <a:schemeClr val="accent1"/>
                </a:solidFill>
              </a:defRPr>
            </a:lvl4pPr>
            <a:lvl5pPr marL="0" indent="0">
              <a:spcBef>
                <a:spcPts val="0"/>
              </a:spcBef>
              <a:buFontTx/>
              <a:buNone/>
              <a:defRPr sz="700">
                <a:solidFill>
                  <a:schemeClr val="accent1"/>
                </a:solidFill>
              </a:defRPr>
            </a:lvl5pPr>
          </a:lstStyle>
          <a:p>
            <a:pPr lvl="0"/>
            <a:r>
              <a:t>[Web Address]</a:t>
            </a:r>
          </a:p>
        </p:txBody>
      </p:sp>
      <p:sp>
        <p:nvSpPr>
          <p:cNvPr id="163" name="Text Placeholder 23"/>
          <p:cNvSpPr>
            <a:spLocks noGrp="1"/>
          </p:cNvSpPr>
          <p:nvPr>
            <p:ph type="body" sz="quarter" idx="125" hasCustomPrompt="1"/>
          </p:nvPr>
        </p:nvSpPr>
        <p:spPr>
          <a:xfrm>
            <a:off x="833568" y="7484439"/>
            <a:ext cx="2907792" cy="128016"/>
          </a:xfrm>
        </p:spPr>
        <p:txBody>
          <a:bodyPr lIns="0" tIns="0" rIns="0" bIns="0" anchor="b">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lvl2pPr>
            <a:lvl3pPr marL="0" indent="0">
              <a:spcBef>
                <a:spcPts val="0"/>
              </a:spcBef>
              <a:buNone/>
              <a:defRPr sz="700"/>
            </a:lvl3pPr>
            <a:lvl4pPr marL="0" indent="0">
              <a:spcBef>
                <a:spcPts val="0"/>
              </a:spcBef>
              <a:buNone/>
              <a:defRPr sz="700"/>
            </a:lvl4pPr>
            <a:lvl5pPr marL="0" indent="0">
              <a:spcBef>
                <a:spcPts val="0"/>
              </a:spcBef>
              <a:buNone/>
              <a:defRPr sz="700"/>
            </a:lvl5pPr>
          </a:lstStyle>
          <a:p>
            <a:pPr lvl="0"/>
            <a:r>
              <a:t>[Telephone] | [Email]</a:t>
            </a:r>
          </a:p>
        </p:txBody>
      </p:sp>
      <p:sp>
        <p:nvSpPr>
          <p:cNvPr id="166" name="Text Placeholder 19"/>
          <p:cNvSpPr>
            <a:spLocks noGrp="1"/>
          </p:cNvSpPr>
          <p:nvPr>
            <p:ph type="body" sz="quarter" idx="127" hasCustomPrompt="1"/>
          </p:nvPr>
        </p:nvSpPr>
        <p:spPr>
          <a:xfrm>
            <a:off x="4034490" y="6436923"/>
            <a:ext cx="2903820" cy="185282"/>
          </a:xfrm>
        </p:spPr>
        <p:txBody>
          <a:bodyPr lIns="0" tIns="0" rIns="0" bIns="0" anchor="t">
            <a:noAutofit/>
          </a:bodyPr>
          <a:lstStyle>
            <a:lvl1pPr marL="0" indent="0" algn="ctr">
              <a:lnSpc>
                <a:spcPct val="80000"/>
              </a:lnSpc>
              <a:spcBef>
                <a:spcPts val="0"/>
              </a:spcBef>
              <a:buNone/>
              <a:defRPr sz="1200" b="0" cap="all" baseline="0">
                <a:solidFill>
                  <a:schemeClr val="accent2"/>
                </a:solidFill>
                <a:latin typeface="+mn-lt"/>
              </a:defRPr>
            </a:lvl1pPr>
            <a:lvl2pPr marL="0" indent="0">
              <a:spcBef>
                <a:spcPts val="0"/>
              </a:spcBef>
              <a:buNone/>
              <a:defRPr sz="900"/>
            </a:lvl2pPr>
            <a:lvl3pPr marL="0" indent="0">
              <a:spcBef>
                <a:spcPts val="0"/>
              </a:spcBef>
              <a:buNone/>
              <a:defRPr sz="900"/>
            </a:lvl3pPr>
            <a:lvl4pPr marL="0" indent="0">
              <a:spcBef>
                <a:spcPts val="0"/>
              </a:spcBef>
              <a:buNone/>
              <a:defRPr sz="900"/>
            </a:lvl4pPr>
            <a:lvl5pPr marL="0" indent="0">
              <a:spcBef>
                <a:spcPts val="0"/>
              </a:spcBef>
              <a:buNone/>
              <a:defRPr sz="900"/>
            </a:lvl5pPr>
          </a:lstStyle>
          <a:p>
            <a:pPr lvl="0"/>
            <a:r>
              <a:t>[Name]</a:t>
            </a:r>
          </a:p>
        </p:txBody>
      </p:sp>
      <p:sp>
        <p:nvSpPr>
          <p:cNvPr id="167" name="Text Placeholder 21"/>
          <p:cNvSpPr>
            <a:spLocks noGrp="1"/>
          </p:cNvSpPr>
          <p:nvPr>
            <p:ph type="body" sz="quarter" idx="128" hasCustomPrompt="1"/>
          </p:nvPr>
        </p:nvSpPr>
        <p:spPr>
          <a:xfrm>
            <a:off x="4032758" y="6612148"/>
            <a:ext cx="2907284" cy="140384"/>
          </a:xfrm>
        </p:spPr>
        <p:txBody>
          <a:bodyPr lIns="0" tIns="0" rIns="0" bIns="0" anchor="t">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b="1">
                <a:solidFill>
                  <a:schemeClr val="tx1">
                    <a:lumMod val="65000"/>
                    <a:lumOff val="35000"/>
                  </a:schemeClr>
                </a:solidFill>
              </a:defRPr>
            </a:lvl2pPr>
            <a:lvl3pPr marL="0" indent="0">
              <a:spcBef>
                <a:spcPts val="0"/>
              </a:spcBef>
              <a:buNone/>
              <a:defRPr sz="700" b="1">
                <a:solidFill>
                  <a:schemeClr val="tx1">
                    <a:lumMod val="65000"/>
                    <a:lumOff val="35000"/>
                  </a:schemeClr>
                </a:solidFill>
              </a:defRPr>
            </a:lvl3pPr>
            <a:lvl4pPr marL="0" indent="0">
              <a:spcBef>
                <a:spcPts val="0"/>
              </a:spcBef>
              <a:buNone/>
              <a:defRPr sz="700" b="1">
                <a:solidFill>
                  <a:schemeClr val="tx1">
                    <a:lumMod val="65000"/>
                    <a:lumOff val="35000"/>
                  </a:schemeClr>
                </a:solidFill>
              </a:defRPr>
            </a:lvl4pPr>
            <a:lvl5pPr marL="0" indent="0">
              <a:spcBef>
                <a:spcPts val="0"/>
              </a:spcBef>
              <a:buNone/>
              <a:defRPr sz="700" b="1">
                <a:solidFill>
                  <a:schemeClr val="tx1">
                    <a:lumMod val="65000"/>
                    <a:lumOff val="35000"/>
                  </a:schemeClr>
                </a:solidFill>
              </a:defRPr>
            </a:lvl5pPr>
          </a:lstStyle>
          <a:p>
            <a:pPr lvl="0"/>
            <a:r>
              <a:t>[Title]</a:t>
            </a:r>
          </a:p>
        </p:txBody>
      </p:sp>
      <p:sp>
        <p:nvSpPr>
          <p:cNvPr id="168" name="Text Placeholder 31"/>
          <p:cNvSpPr>
            <a:spLocks noGrp="1"/>
          </p:cNvSpPr>
          <p:nvPr>
            <p:ph type="body" sz="quarter" idx="129" hasCustomPrompt="1"/>
          </p:nvPr>
        </p:nvSpPr>
        <p:spPr>
          <a:xfrm>
            <a:off x="4032504" y="7004078"/>
            <a:ext cx="2907792" cy="140081"/>
          </a:xfrm>
        </p:spPr>
        <p:txBody>
          <a:bodyPr lIns="0" tIns="0" rIns="0" bIns="0">
            <a:noAutofit/>
          </a:bodyPr>
          <a:lstStyle>
            <a:lvl1pPr marL="0" indent="0" algn="ctr">
              <a:lnSpc>
                <a:spcPct val="80000"/>
              </a:lnSpc>
              <a:spcBef>
                <a:spcPts val="0"/>
              </a:spcBef>
              <a:buNone/>
              <a:defRPr sz="1000" b="0" cap="none" baseline="0">
                <a:solidFill>
                  <a:schemeClr val="accent6"/>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Company]</a:t>
            </a:r>
          </a:p>
        </p:txBody>
      </p:sp>
      <p:sp>
        <p:nvSpPr>
          <p:cNvPr id="210" name="Text Placeholder 31"/>
          <p:cNvSpPr>
            <a:spLocks noGrp="1"/>
          </p:cNvSpPr>
          <p:nvPr>
            <p:ph type="body" sz="quarter" idx="130" hasCustomPrompt="1"/>
          </p:nvPr>
        </p:nvSpPr>
        <p:spPr>
          <a:xfrm>
            <a:off x="4032504" y="7153013"/>
            <a:ext cx="2907792" cy="128016"/>
          </a:xfrm>
        </p:spPr>
        <p:txBody>
          <a:bodyPr lIns="0" tIns="0" rIns="0" bIns="0">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Street Address, City, ST ZIP Code]</a:t>
            </a:r>
          </a:p>
        </p:txBody>
      </p:sp>
      <p:sp>
        <p:nvSpPr>
          <p:cNvPr id="211" name="Text Placeholder 27"/>
          <p:cNvSpPr>
            <a:spLocks noGrp="1"/>
          </p:cNvSpPr>
          <p:nvPr>
            <p:ph type="body" sz="quarter" idx="131" hasCustomPrompt="1"/>
          </p:nvPr>
        </p:nvSpPr>
        <p:spPr>
          <a:xfrm>
            <a:off x="4032504" y="7293933"/>
            <a:ext cx="2907792" cy="128016"/>
          </a:xfrm>
        </p:spPr>
        <p:txBody>
          <a:bodyPr lIns="0" tIns="0" rIns="0" bIns="0" anchor="t">
            <a:noAutofit/>
          </a:bodyPr>
          <a:lstStyle>
            <a:lvl1pPr marL="0" indent="0" algn="ctr">
              <a:lnSpc>
                <a:spcPct val="80000"/>
              </a:lnSpc>
              <a:spcBef>
                <a:spcPts val="0"/>
              </a:spcBef>
              <a:buFontTx/>
              <a:buNone/>
              <a:defRPr sz="900" b="0" baseline="0">
                <a:solidFill>
                  <a:schemeClr val="accent5"/>
                </a:solidFill>
                <a:latin typeface="+mn-lt"/>
              </a:defRPr>
            </a:lvl1pPr>
            <a:lvl2pPr marL="0" indent="0">
              <a:spcBef>
                <a:spcPts val="0"/>
              </a:spcBef>
              <a:buFontTx/>
              <a:buNone/>
              <a:defRPr sz="700">
                <a:solidFill>
                  <a:schemeClr val="accent1"/>
                </a:solidFill>
              </a:defRPr>
            </a:lvl2pPr>
            <a:lvl3pPr marL="0" indent="0">
              <a:spcBef>
                <a:spcPts val="0"/>
              </a:spcBef>
              <a:buFontTx/>
              <a:buNone/>
              <a:defRPr sz="700">
                <a:solidFill>
                  <a:schemeClr val="accent1"/>
                </a:solidFill>
              </a:defRPr>
            </a:lvl3pPr>
            <a:lvl4pPr marL="0" indent="0">
              <a:spcBef>
                <a:spcPts val="0"/>
              </a:spcBef>
              <a:buFontTx/>
              <a:buNone/>
              <a:defRPr sz="700">
                <a:solidFill>
                  <a:schemeClr val="accent1"/>
                </a:solidFill>
              </a:defRPr>
            </a:lvl4pPr>
            <a:lvl5pPr marL="0" indent="0">
              <a:spcBef>
                <a:spcPts val="0"/>
              </a:spcBef>
              <a:buFontTx/>
              <a:buNone/>
              <a:defRPr sz="700">
                <a:solidFill>
                  <a:schemeClr val="accent1"/>
                </a:solidFill>
              </a:defRPr>
            </a:lvl5pPr>
          </a:lstStyle>
          <a:p>
            <a:pPr lvl="0"/>
            <a:r>
              <a:t>[Web Address]</a:t>
            </a:r>
          </a:p>
        </p:txBody>
      </p:sp>
      <p:sp>
        <p:nvSpPr>
          <p:cNvPr id="212" name="Text Placeholder 23"/>
          <p:cNvSpPr>
            <a:spLocks noGrp="1"/>
          </p:cNvSpPr>
          <p:nvPr>
            <p:ph type="body" sz="quarter" idx="132" hasCustomPrompt="1"/>
          </p:nvPr>
        </p:nvSpPr>
        <p:spPr>
          <a:xfrm>
            <a:off x="4032504" y="7484439"/>
            <a:ext cx="2907792" cy="128016"/>
          </a:xfrm>
        </p:spPr>
        <p:txBody>
          <a:bodyPr lIns="0" tIns="0" rIns="0" bIns="0" anchor="b">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lvl2pPr>
            <a:lvl3pPr marL="0" indent="0">
              <a:spcBef>
                <a:spcPts val="0"/>
              </a:spcBef>
              <a:buNone/>
              <a:defRPr sz="700"/>
            </a:lvl3pPr>
            <a:lvl4pPr marL="0" indent="0">
              <a:spcBef>
                <a:spcPts val="0"/>
              </a:spcBef>
              <a:buNone/>
              <a:defRPr sz="700"/>
            </a:lvl4pPr>
            <a:lvl5pPr marL="0" indent="0">
              <a:spcBef>
                <a:spcPts val="0"/>
              </a:spcBef>
              <a:buNone/>
              <a:defRPr sz="700"/>
            </a:lvl5pPr>
          </a:lstStyle>
          <a:p>
            <a:pPr lvl="0"/>
            <a:r>
              <a:t>[Telephone] | [Email]</a:t>
            </a:r>
          </a:p>
        </p:txBody>
      </p:sp>
      <p:sp>
        <p:nvSpPr>
          <p:cNvPr id="215" name="Text Placeholder 19"/>
          <p:cNvSpPr>
            <a:spLocks noGrp="1"/>
          </p:cNvSpPr>
          <p:nvPr>
            <p:ph type="body" sz="quarter" idx="134" hasCustomPrompt="1"/>
          </p:nvPr>
        </p:nvSpPr>
        <p:spPr>
          <a:xfrm>
            <a:off x="835300" y="8264104"/>
            <a:ext cx="2903820" cy="185282"/>
          </a:xfrm>
        </p:spPr>
        <p:txBody>
          <a:bodyPr lIns="0" tIns="0" rIns="0" bIns="0" anchor="t">
            <a:noAutofit/>
          </a:bodyPr>
          <a:lstStyle>
            <a:lvl1pPr marL="0" indent="0" algn="ctr">
              <a:lnSpc>
                <a:spcPct val="80000"/>
              </a:lnSpc>
              <a:spcBef>
                <a:spcPts val="0"/>
              </a:spcBef>
              <a:buNone/>
              <a:defRPr sz="1200" b="0" cap="all" baseline="0">
                <a:solidFill>
                  <a:schemeClr val="accent2"/>
                </a:solidFill>
                <a:latin typeface="+mn-lt"/>
              </a:defRPr>
            </a:lvl1pPr>
            <a:lvl2pPr marL="0" indent="0">
              <a:spcBef>
                <a:spcPts val="0"/>
              </a:spcBef>
              <a:buNone/>
              <a:defRPr sz="900"/>
            </a:lvl2pPr>
            <a:lvl3pPr marL="0" indent="0">
              <a:spcBef>
                <a:spcPts val="0"/>
              </a:spcBef>
              <a:buNone/>
              <a:defRPr sz="900"/>
            </a:lvl3pPr>
            <a:lvl4pPr marL="0" indent="0">
              <a:spcBef>
                <a:spcPts val="0"/>
              </a:spcBef>
              <a:buNone/>
              <a:defRPr sz="900"/>
            </a:lvl4pPr>
            <a:lvl5pPr marL="0" indent="0">
              <a:spcBef>
                <a:spcPts val="0"/>
              </a:spcBef>
              <a:buNone/>
              <a:defRPr sz="900"/>
            </a:lvl5pPr>
          </a:lstStyle>
          <a:p>
            <a:pPr lvl="0"/>
            <a:r>
              <a:t>[Name]</a:t>
            </a:r>
          </a:p>
        </p:txBody>
      </p:sp>
      <p:sp>
        <p:nvSpPr>
          <p:cNvPr id="216" name="Text Placeholder 21"/>
          <p:cNvSpPr>
            <a:spLocks noGrp="1"/>
          </p:cNvSpPr>
          <p:nvPr>
            <p:ph type="body" sz="quarter" idx="135" hasCustomPrompt="1"/>
          </p:nvPr>
        </p:nvSpPr>
        <p:spPr>
          <a:xfrm>
            <a:off x="833568" y="8439329"/>
            <a:ext cx="2907284" cy="140384"/>
          </a:xfrm>
        </p:spPr>
        <p:txBody>
          <a:bodyPr lIns="0" tIns="0" rIns="0" bIns="0" anchor="t">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b="1">
                <a:solidFill>
                  <a:schemeClr val="tx1">
                    <a:lumMod val="65000"/>
                    <a:lumOff val="35000"/>
                  </a:schemeClr>
                </a:solidFill>
              </a:defRPr>
            </a:lvl2pPr>
            <a:lvl3pPr marL="0" indent="0">
              <a:spcBef>
                <a:spcPts val="0"/>
              </a:spcBef>
              <a:buNone/>
              <a:defRPr sz="700" b="1">
                <a:solidFill>
                  <a:schemeClr val="tx1">
                    <a:lumMod val="65000"/>
                    <a:lumOff val="35000"/>
                  </a:schemeClr>
                </a:solidFill>
              </a:defRPr>
            </a:lvl3pPr>
            <a:lvl4pPr marL="0" indent="0">
              <a:spcBef>
                <a:spcPts val="0"/>
              </a:spcBef>
              <a:buNone/>
              <a:defRPr sz="700" b="1">
                <a:solidFill>
                  <a:schemeClr val="tx1">
                    <a:lumMod val="65000"/>
                    <a:lumOff val="35000"/>
                  </a:schemeClr>
                </a:solidFill>
              </a:defRPr>
            </a:lvl4pPr>
            <a:lvl5pPr marL="0" indent="0">
              <a:spcBef>
                <a:spcPts val="0"/>
              </a:spcBef>
              <a:buNone/>
              <a:defRPr sz="700" b="1">
                <a:solidFill>
                  <a:schemeClr val="tx1">
                    <a:lumMod val="65000"/>
                    <a:lumOff val="35000"/>
                  </a:schemeClr>
                </a:solidFill>
              </a:defRPr>
            </a:lvl5pPr>
          </a:lstStyle>
          <a:p>
            <a:pPr lvl="0"/>
            <a:r>
              <a:t>[Title]</a:t>
            </a:r>
          </a:p>
        </p:txBody>
      </p:sp>
      <p:sp>
        <p:nvSpPr>
          <p:cNvPr id="217" name="Text Placeholder 31"/>
          <p:cNvSpPr>
            <a:spLocks noGrp="1"/>
          </p:cNvSpPr>
          <p:nvPr>
            <p:ph type="body" sz="quarter" idx="136" hasCustomPrompt="1"/>
          </p:nvPr>
        </p:nvSpPr>
        <p:spPr>
          <a:xfrm>
            <a:off x="833314" y="8831259"/>
            <a:ext cx="2907792" cy="140081"/>
          </a:xfrm>
        </p:spPr>
        <p:txBody>
          <a:bodyPr lIns="0" tIns="0" rIns="0" bIns="0">
            <a:noAutofit/>
          </a:bodyPr>
          <a:lstStyle>
            <a:lvl1pPr marL="0" indent="0" algn="ctr">
              <a:lnSpc>
                <a:spcPct val="80000"/>
              </a:lnSpc>
              <a:spcBef>
                <a:spcPts val="0"/>
              </a:spcBef>
              <a:buNone/>
              <a:defRPr sz="1000" b="0" cap="none" baseline="0">
                <a:solidFill>
                  <a:schemeClr val="accent6"/>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Company]</a:t>
            </a:r>
          </a:p>
        </p:txBody>
      </p:sp>
      <p:sp>
        <p:nvSpPr>
          <p:cNvPr id="218" name="Text Placeholder 31"/>
          <p:cNvSpPr>
            <a:spLocks noGrp="1"/>
          </p:cNvSpPr>
          <p:nvPr>
            <p:ph type="body" sz="quarter" idx="137" hasCustomPrompt="1"/>
          </p:nvPr>
        </p:nvSpPr>
        <p:spPr>
          <a:xfrm>
            <a:off x="833314" y="8980194"/>
            <a:ext cx="2907792" cy="128016"/>
          </a:xfrm>
        </p:spPr>
        <p:txBody>
          <a:bodyPr lIns="0" tIns="0" rIns="0" bIns="0">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Street Address, City, ST ZIP Code]</a:t>
            </a:r>
          </a:p>
        </p:txBody>
      </p:sp>
      <p:sp>
        <p:nvSpPr>
          <p:cNvPr id="219" name="Text Placeholder 27"/>
          <p:cNvSpPr>
            <a:spLocks noGrp="1"/>
          </p:cNvSpPr>
          <p:nvPr>
            <p:ph type="body" sz="quarter" idx="138" hasCustomPrompt="1"/>
          </p:nvPr>
        </p:nvSpPr>
        <p:spPr>
          <a:xfrm>
            <a:off x="833314" y="9121114"/>
            <a:ext cx="2907792" cy="128016"/>
          </a:xfrm>
        </p:spPr>
        <p:txBody>
          <a:bodyPr lIns="0" tIns="0" rIns="0" bIns="0" anchor="t">
            <a:noAutofit/>
          </a:bodyPr>
          <a:lstStyle>
            <a:lvl1pPr marL="0" indent="0" algn="ctr">
              <a:lnSpc>
                <a:spcPct val="80000"/>
              </a:lnSpc>
              <a:spcBef>
                <a:spcPts val="0"/>
              </a:spcBef>
              <a:buFontTx/>
              <a:buNone/>
              <a:defRPr sz="900" b="0" baseline="0">
                <a:solidFill>
                  <a:schemeClr val="accent5"/>
                </a:solidFill>
                <a:latin typeface="+mn-lt"/>
              </a:defRPr>
            </a:lvl1pPr>
            <a:lvl2pPr marL="0" indent="0">
              <a:spcBef>
                <a:spcPts val="0"/>
              </a:spcBef>
              <a:buFontTx/>
              <a:buNone/>
              <a:defRPr sz="700">
                <a:solidFill>
                  <a:schemeClr val="accent1"/>
                </a:solidFill>
              </a:defRPr>
            </a:lvl2pPr>
            <a:lvl3pPr marL="0" indent="0">
              <a:spcBef>
                <a:spcPts val="0"/>
              </a:spcBef>
              <a:buFontTx/>
              <a:buNone/>
              <a:defRPr sz="700">
                <a:solidFill>
                  <a:schemeClr val="accent1"/>
                </a:solidFill>
              </a:defRPr>
            </a:lvl3pPr>
            <a:lvl4pPr marL="0" indent="0">
              <a:spcBef>
                <a:spcPts val="0"/>
              </a:spcBef>
              <a:buFontTx/>
              <a:buNone/>
              <a:defRPr sz="700">
                <a:solidFill>
                  <a:schemeClr val="accent1"/>
                </a:solidFill>
              </a:defRPr>
            </a:lvl4pPr>
            <a:lvl5pPr marL="0" indent="0">
              <a:spcBef>
                <a:spcPts val="0"/>
              </a:spcBef>
              <a:buFontTx/>
              <a:buNone/>
              <a:defRPr sz="700">
                <a:solidFill>
                  <a:schemeClr val="accent1"/>
                </a:solidFill>
              </a:defRPr>
            </a:lvl5pPr>
          </a:lstStyle>
          <a:p>
            <a:pPr lvl="0"/>
            <a:r>
              <a:t>[Web Address]</a:t>
            </a:r>
          </a:p>
        </p:txBody>
      </p:sp>
      <p:sp>
        <p:nvSpPr>
          <p:cNvPr id="220" name="Text Placeholder 23"/>
          <p:cNvSpPr>
            <a:spLocks noGrp="1"/>
          </p:cNvSpPr>
          <p:nvPr>
            <p:ph type="body" sz="quarter" idx="139" hasCustomPrompt="1"/>
          </p:nvPr>
        </p:nvSpPr>
        <p:spPr>
          <a:xfrm>
            <a:off x="833568" y="9311620"/>
            <a:ext cx="2907792" cy="128016"/>
          </a:xfrm>
        </p:spPr>
        <p:txBody>
          <a:bodyPr lIns="0" tIns="0" rIns="0" bIns="0" anchor="b">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lvl2pPr>
            <a:lvl3pPr marL="0" indent="0">
              <a:spcBef>
                <a:spcPts val="0"/>
              </a:spcBef>
              <a:buNone/>
              <a:defRPr sz="700"/>
            </a:lvl3pPr>
            <a:lvl4pPr marL="0" indent="0">
              <a:spcBef>
                <a:spcPts val="0"/>
              </a:spcBef>
              <a:buNone/>
              <a:defRPr sz="700"/>
            </a:lvl4pPr>
            <a:lvl5pPr marL="0" indent="0">
              <a:spcBef>
                <a:spcPts val="0"/>
              </a:spcBef>
              <a:buNone/>
              <a:defRPr sz="700"/>
            </a:lvl5pPr>
          </a:lstStyle>
          <a:p>
            <a:pPr lvl="0"/>
            <a:r>
              <a:t>[Telephone] | [Email]</a:t>
            </a:r>
          </a:p>
        </p:txBody>
      </p:sp>
      <p:sp>
        <p:nvSpPr>
          <p:cNvPr id="223" name="Text Placeholder 19"/>
          <p:cNvSpPr>
            <a:spLocks noGrp="1"/>
          </p:cNvSpPr>
          <p:nvPr>
            <p:ph type="body" sz="quarter" idx="141" hasCustomPrompt="1"/>
          </p:nvPr>
        </p:nvSpPr>
        <p:spPr>
          <a:xfrm>
            <a:off x="4034490" y="8264104"/>
            <a:ext cx="2903820" cy="185282"/>
          </a:xfrm>
        </p:spPr>
        <p:txBody>
          <a:bodyPr lIns="0" tIns="0" rIns="0" bIns="0" anchor="t">
            <a:noAutofit/>
          </a:bodyPr>
          <a:lstStyle>
            <a:lvl1pPr marL="0" indent="0" algn="ctr">
              <a:lnSpc>
                <a:spcPct val="80000"/>
              </a:lnSpc>
              <a:spcBef>
                <a:spcPts val="0"/>
              </a:spcBef>
              <a:buNone/>
              <a:defRPr sz="1200" b="0" cap="all" baseline="0">
                <a:solidFill>
                  <a:schemeClr val="accent2"/>
                </a:solidFill>
                <a:latin typeface="+mn-lt"/>
              </a:defRPr>
            </a:lvl1pPr>
            <a:lvl2pPr marL="0" indent="0">
              <a:spcBef>
                <a:spcPts val="0"/>
              </a:spcBef>
              <a:buNone/>
              <a:defRPr sz="900"/>
            </a:lvl2pPr>
            <a:lvl3pPr marL="0" indent="0">
              <a:spcBef>
                <a:spcPts val="0"/>
              </a:spcBef>
              <a:buNone/>
              <a:defRPr sz="900"/>
            </a:lvl3pPr>
            <a:lvl4pPr marL="0" indent="0">
              <a:spcBef>
                <a:spcPts val="0"/>
              </a:spcBef>
              <a:buNone/>
              <a:defRPr sz="900"/>
            </a:lvl4pPr>
            <a:lvl5pPr marL="0" indent="0">
              <a:spcBef>
                <a:spcPts val="0"/>
              </a:spcBef>
              <a:buNone/>
              <a:defRPr sz="900"/>
            </a:lvl5pPr>
          </a:lstStyle>
          <a:p>
            <a:pPr lvl="0"/>
            <a:r>
              <a:t>[Name]</a:t>
            </a:r>
          </a:p>
        </p:txBody>
      </p:sp>
      <p:sp>
        <p:nvSpPr>
          <p:cNvPr id="224" name="Text Placeholder 21"/>
          <p:cNvSpPr>
            <a:spLocks noGrp="1"/>
          </p:cNvSpPr>
          <p:nvPr>
            <p:ph type="body" sz="quarter" idx="142" hasCustomPrompt="1"/>
          </p:nvPr>
        </p:nvSpPr>
        <p:spPr>
          <a:xfrm>
            <a:off x="4032758" y="8439329"/>
            <a:ext cx="2907284" cy="140384"/>
          </a:xfrm>
        </p:spPr>
        <p:txBody>
          <a:bodyPr lIns="0" tIns="0" rIns="0" bIns="0" anchor="t">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b="1">
                <a:solidFill>
                  <a:schemeClr val="tx1">
                    <a:lumMod val="65000"/>
                    <a:lumOff val="35000"/>
                  </a:schemeClr>
                </a:solidFill>
              </a:defRPr>
            </a:lvl2pPr>
            <a:lvl3pPr marL="0" indent="0">
              <a:spcBef>
                <a:spcPts val="0"/>
              </a:spcBef>
              <a:buNone/>
              <a:defRPr sz="700" b="1">
                <a:solidFill>
                  <a:schemeClr val="tx1">
                    <a:lumMod val="65000"/>
                    <a:lumOff val="35000"/>
                  </a:schemeClr>
                </a:solidFill>
              </a:defRPr>
            </a:lvl3pPr>
            <a:lvl4pPr marL="0" indent="0">
              <a:spcBef>
                <a:spcPts val="0"/>
              </a:spcBef>
              <a:buNone/>
              <a:defRPr sz="700" b="1">
                <a:solidFill>
                  <a:schemeClr val="tx1">
                    <a:lumMod val="65000"/>
                    <a:lumOff val="35000"/>
                  </a:schemeClr>
                </a:solidFill>
              </a:defRPr>
            </a:lvl4pPr>
            <a:lvl5pPr marL="0" indent="0">
              <a:spcBef>
                <a:spcPts val="0"/>
              </a:spcBef>
              <a:buNone/>
              <a:defRPr sz="700" b="1">
                <a:solidFill>
                  <a:schemeClr val="tx1">
                    <a:lumMod val="65000"/>
                    <a:lumOff val="35000"/>
                  </a:schemeClr>
                </a:solidFill>
              </a:defRPr>
            </a:lvl5pPr>
          </a:lstStyle>
          <a:p>
            <a:pPr lvl="0"/>
            <a:r>
              <a:t>[Title]</a:t>
            </a:r>
          </a:p>
        </p:txBody>
      </p:sp>
      <p:sp>
        <p:nvSpPr>
          <p:cNvPr id="225" name="Text Placeholder 31"/>
          <p:cNvSpPr>
            <a:spLocks noGrp="1"/>
          </p:cNvSpPr>
          <p:nvPr>
            <p:ph type="body" sz="quarter" idx="143" hasCustomPrompt="1"/>
          </p:nvPr>
        </p:nvSpPr>
        <p:spPr>
          <a:xfrm>
            <a:off x="4032504" y="8831259"/>
            <a:ext cx="2907792" cy="140081"/>
          </a:xfrm>
        </p:spPr>
        <p:txBody>
          <a:bodyPr lIns="0" tIns="0" rIns="0" bIns="0">
            <a:noAutofit/>
          </a:bodyPr>
          <a:lstStyle>
            <a:lvl1pPr marL="0" indent="0" algn="ctr">
              <a:lnSpc>
                <a:spcPct val="80000"/>
              </a:lnSpc>
              <a:spcBef>
                <a:spcPts val="0"/>
              </a:spcBef>
              <a:buNone/>
              <a:defRPr sz="1000" b="0" cap="none" baseline="0">
                <a:solidFill>
                  <a:schemeClr val="accent6"/>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Company]</a:t>
            </a:r>
          </a:p>
        </p:txBody>
      </p:sp>
      <p:sp>
        <p:nvSpPr>
          <p:cNvPr id="226" name="Text Placeholder 31"/>
          <p:cNvSpPr>
            <a:spLocks noGrp="1"/>
          </p:cNvSpPr>
          <p:nvPr>
            <p:ph type="body" sz="quarter" idx="144" hasCustomPrompt="1"/>
          </p:nvPr>
        </p:nvSpPr>
        <p:spPr>
          <a:xfrm>
            <a:off x="4032504" y="8980194"/>
            <a:ext cx="2907792" cy="128016"/>
          </a:xfrm>
        </p:spPr>
        <p:txBody>
          <a:bodyPr lIns="0" tIns="0" rIns="0" bIns="0">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solidFill>
                  <a:schemeClr val="tx1">
                    <a:lumMod val="65000"/>
                    <a:lumOff val="35000"/>
                  </a:schemeClr>
                </a:solidFill>
              </a:defRPr>
            </a:lvl2pPr>
            <a:lvl3pPr marL="0" indent="0">
              <a:spcBef>
                <a:spcPts val="0"/>
              </a:spcBef>
              <a:buNone/>
              <a:defRPr sz="700">
                <a:solidFill>
                  <a:schemeClr val="tx1">
                    <a:lumMod val="65000"/>
                    <a:lumOff val="35000"/>
                  </a:schemeClr>
                </a:solidFill>
              </a:defRPr>
            </a:lvl3pPr>
            <a:lvl4pPr marL="0" indent="0">
              <a:spcBef>
                <a:spcPts val="0"/>
              </a:spcBef>
              <a:buNone/>
              <a:defRPr sz="700">
                <a:solidFill>
                  <a:schemeClr val="tx1">
                    <a:lumMod val="65000"/>
                    <a:lumOff val="35000"/>
                  </a:schemeClr>
                </a:solidFill>
              </a:defRPr>
            </a:lvl4pPr>
            <a:lvl5pPr marL="0" indent="0">
              <a:spcBef>
                <a:spcPts val="0"/>
              </a:spcBef>
              <a:buNone/>
              <a:defRPr sz="700">
                <a:solidFill>
                  <a:schemeClr val="tx1">
                    <a:lumMod val="65000"/>
                    <a:lumOff val="35000"/>
                  </a:schemeClr>
                </a:solidFill>
              </a:defRPr>
            </a:lvl5pPr>
          </a:lstStyle>
          <a:p>
            <a:pPr lvl="0"/>
            <a:r>
              <a:t>[Street Address, City, ST ZIP Code]</a:t>
            </a:r>
          </a:p>
        </p:txBody>
      </p:sp>
      <p:sp>
        <p:nvSpPr>
          <p:cNvPr id="227" name="Text Placeholder 27"/>
          <p:cNvSpPr>
            <a:spLocks noGrp="1"/>
          </p:cNvSpPr>
          <p:nvPr>
            <p:ph type="body" sz="quarter" idx="145" hasCustomPrompt="1"/>
          </p:nvPr>
        </p:nvSpPr>
        <p:spPr>
          <a:xfrm>
            <a:off x="4032504" y="9121114"/>
            <a:ext cx="2907792" cy="128016"/>
          </a:xfrm>
        </p:spPr>
        <p:txBody>
          <a:bodyPr lIns="0" tIns="0" rIns="0" bIns="0" anchor="t">
            <a:noAutofit/>
          </a:bodyPr>
          <a:lstStyle>
            <a:lvl1pPr marL="0" indent="0" algn="ctr">
              <a:lnSpc>
                <a:spcPct val="80000"/>
              </a:lnSpc>
              <a:spcBef>
                <a:spcPts val="0"/>
              </a:spcBef>
              <a:buFontTx/>
              <a:buNone/>
              <a:defRPr sz="900" b="0" baseline="0">
                <a:solidFill>
                  <a:schemeClr val="accent5"/>
                </a:solidFill>
                <a:latin typeface="+mn-lt"/>
              </a:defRPr>
            </a:lvl1pPr>
            <a:lvl2pPr marL="0" indent="0">
              <a:spcBef>
                <a:spcPts val="0"/>
              </a:spcBef>
              <a:buFontTx/>
              <a:buNone/>
              <a:defRPr sz="700">
                <a:solidFill>
                  <a:schemeClr val="accent1"/>
                </a:solidFill>
              </a:defRPr>
            </a:lvl2pPr>
            <a:lvl3pPr marL="0" indent="0">
              <a:spcBef>
                <a:spcPts val="0"/>
              </a:spcBef>
              <a:buFontTx/>
              <a:buNone/>
              <a:defRPr sz="700">
                <a:solidFill>
                  <a:schemeClr val="accent1"/>
                </a:solidFill>
              </a:defRPr>
            </a:lvl3pPr>
            <a:lvl4pPr marL="0" indent="0">
              <a:spcBef>
                <a:spcPts val="0"/>
              </a:spcBef>
              <a:buFontTx/>
              <a:buNone/>
              <a:defRPr sz="700">
                <a:solidFill>
                  <a:schemeClr val="accent1"/>
                </a:solidFill>
              </a:defRPr>
            </a:lvl4pPr>
            <a:lvl5pPr marL="0" indent="0">
              <a:spcBef>
                <a:spcPts val="0"/>
              </a:spcBef>
              <a:buFontTx/>
              <a:buNone/>
              <a:defRPr sz="700">
                <a:solidFill>
                  <a:schemeClr val="accent1"/>
                </a:solidFill>
              </a:defRPr>
            </a:lvl5pPr>
          </a:lstStyle>
          <a:p>
            <a:pPr lvl="0"/>
            <a:r>
              <a:t>[Web Address]</a:t>
            </a:r>
          </a:p>
        </p:txBody>
      </p:sp>
      <p:sp>
        <p:nvSpPr>
          <p:cNvPr id="228" name="Text Placeholder 23"/>
          <p:cNvSpPr>
            <a:spLocks noGrp="1"/>
          </p:cNvSpPr>
          <p:nvPr>
            <p:ph type="body" sz="quarter" idx="146" hasCustomPrompt="1"/>
          </p:nvPr>
        </p:nvSpPr>
        <p:spPr>
          <a:xfrm>
            <a:off x="4032504" y="9311620"/>
            <a:ext cx="2907792" cy="128016"/>
          </a:xfrm>
        </p:spPr>
        <p:txBody>
          <a:bodyPr lIns="0" tIns="0" rIns="0" bIns="0" anchor="b">
            <a:noAutofit/>
          </a:bodyPr>
          <a:lstStyle>
            <a:lvl1pPr marL="0" indent="0" algn="ctr">
              <a:lnSpc>
                <a:spcPct val="80000"/>
              </a:lnSpc>
              <a:spcBef>
                <a:spcPts val="0"/>
              </a:spcBef>
              <a:buNone/>
              <a:defRPr sz="900" b="0">
                <a:solidFill>
                  <a:schemeClr val="accent5"/>
                </a:solidFill>
                <a:latin typeface="+mn-lt"/>
              </a:defRPr>
            </a:lvl1pPr>
            <a:lvl2pPr marL="0" indent="0">
              <a:spcBef>
                <a:spcPts val="0"/>
              </a:spcBef>
              <a:buNone/>
              <a:defRPr sz="700"/>
            </a:lvl2pPr>
            <a:lvl3pPr marL="0" indent="0">
              <a:spcBef>
                <a:spcPts val="0"/>
              </a:spcBef>
              <a:buNone/>
              <a:defRPr sz="700"/>
            </a:lvl3pPr>
            <a:lvl4pPr marL="0" indent="0">
              <a:spcBef>
                <a:spcPts val="0"/>
              </a:spcBef>
              <a:buNone/>
              <a:defRPr sz="700"/>
            </a:lvl4pPr>
            <a:lvl5pPr marL="0" indent="0">
              <a:spcBef>
                <a:spcPts val="0"/>
              </a:spcBef>
              <a:buNone/>
              <a:defRPr sz="700"/>
            </a:lvl5pPr>
          </a:lstStyle>
          <a:p>
            <a:pPr lvl="0"/>
            <a:r>
              <a:t>[Telephone] | [Email]</a:t>
            </a:r>
          </a:p>
        </p:txBody>
      </p:sp>
    </p:spTree>
    <p:extLst>
      <p:ext uri="{BB962C8B-B14F-4D97-AF65-F5344CB8AC3E}">
        <p14:creationId xmlns:p14="http://schemas.microsoft.com/office/powerpoint/2010/main" val="2056252651"/>
      </p:ext>
    </p:extLst>
  </p:cSld>
  <p:clrMapOvr>
    <a:masterClrMapping/>
  </p:clrMapOvr>
  <p:extLst>
    <p:ext uri="{DCECCB84-F9BA-43D5-87BE-67443E8EF086}">
      <p15:sldGuideLst xmlns:p15="http://schemas.microsoft.com/office/powerpoint/2012/main">
        <p15:guide id="4" orient="horz" pos="2592">
          <p15:clr>
            <a:srgbClr val="FBAE40"/>
          </p15:clr>
        </p15:guide>
        <p15:guide id="7" orient="horz" pos="3744">
          <p15:clr>
            <a:srgbClr val="FBAE40"/>
          </p15:clr>
        </p15:guide>
        <p15:guide id="8" orient="horz" pos="4896">
          <p15:clr>
            <a:srgbClr val="FBAE40"/>
          </p15:clr>
        </p15:guide>
        <p15:guide id="9" orient="horz" pos="604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e line) and content">
    <p:spTree>
      <p:nvGrpSpPr>
        <p:cNvPr id="1" name=""/>
        <p:cNvGrpSpPr/>
        <p:nvPr/>
      </p:nvGrpSpPr>
      <p:grpSpPr>
        <a:xfrm>
          <a:off x="0" y="0"/>
          <a:ext cx="0" cy="0"/>
          <a:chOff x="0" y="0"/>
          <a:chExt cx="0" cy="0"/>
        </a:xfrm>
      </p:grpSpPr>
      <p:sp>
        <p:nvSpPr>
          <p:cNvPr id="3" name="Tijdelijke aanduiding voor inhoud 2"/>
          <p:cNvSpPr>
            <a:spLocks noGrp="1" noSelect="1"/>
          </p:cNvSpPr>
          <p:nvPr>
            <p:ph idx="1" hasCustomPrompt="1"/>
          </p:nvPr>
        </p:nvSpPr>
        <p:spPr bwMode="gray">
          <a:xfrm>
            <a:off x="612000" y="2193290"/>
            <a:ext cx="6487200" cy="5781600"/>
          </a:xfrm>
        </p:spPr>
        <p:txBody>
          <a:bodyPr/>
          <a:lstStyle>
            <a:lvl1pPr>
              <a:defRPr/>
            </a:lvl1pPr>
          </a:lstStyle>
          <a:p>
            <a:pPr lvl="0"/>
            <a:r>
              <a:rPr lang="en-GB" noProof="1"/>
              <a:t>[Type text or click on icon to insert an object]</a:t>
            </a:r>
          </a:p>
        </p:txBody>
      </p:sp>
      <p:sp>
        <p:nvSpPr>
          <p:cNvPr id="13" name="Tijdelijke aanduiding voor voettekst 12"/>
          <p:cNvSpPr>
            <a:spLocks noGrp="1" noSelect="1"/>
          </p:cNvSpPr>
          <p:nvPr>
            <p:ph type="ftr" sz="quarter" idx="10"/>
          </p:nvPr>
        </p:nvSpPr>
        <p:spPr bwMode="gray"/>
        <p:txBody>
          <a:bodyPr/>
          <a:lstStyle/>
          <a:p>
            <a:endParaRPr lang="en-US"/>
          </a:p>
        </p:txBody>
      </p:sp>
      <p:sp>
        <p:nvSpPr>
          <p:cNvPr id="14" name="Tijdelijke aanduiding voor dianummer 13"/>
          <p:cNvSpPr>
            <a:spLocks noGrp="1" noSelect="1"/>
          </p:cNvSpPr>
          <p:nvPr>
            <p:ph type="sldNum" sz="quarter" idx="11"/>
          </p:nvPr>
        </p:nvSpPr>
        <p:spPr bwMode="gray">
          <a:xfrm>
            <a:off x="7307280" y="338471"/>
            <a:ext cx="347443" cy="422400"/>
          </a:xfrm>
        </p:spPr>
        <p:txBody>
          <a:bodyPr/>
          <a:lstStyle/>
          <a:p>
            <a:fld id="{ADECF1AC-24A7-42A4-9FAC-3CE63B9FFA68}" type="slidenum">
              <a:rPr lang="en-US" smtClean="0"/>
              <a:t>‹#›</a:t>
            </a:fld>
            <a:endParaRPr lang="en-US"/>
          </a:p>
        </p:txBody>
      </p:sp>
      <p:sp>
        <p:nvSpPr>
          <p:cNvPr id="4" name="***Titel 3"/>
          <p:cNvSpPr>
            <a:spLocks noGrp="1" noSelect="1"/>
          </p:cNvSpPr>
          <p:nvPr>
            <p:ph type="title" hasCustomPrompt="1"/>
          </p:nvPr>
        </p:nvSpPr>
        <p:spPr bwMode="gray">
          <a:xfrm>
            <a:off x="612000" y="1041672"/>
            <a:ext cx="6487200" cy="528000"/>
          </a:xfrm>
        </p:spPr>
        <p:txBody>
          <a:bodyPr/>
          <a:lstStyle>
            <a:lvl1pPr>
              <a:defRPr/>
            </a:lvl1pPr>
          </a:lstStyle>
          <a:p>
            <a:r>
              <a:rPr lang="en-GB"/>
              <a:t>[Title]</a:t>
            </a:r>
          </a:p>
        </p:txBody>
      </p:sp>
      <p:sp>
        <p:nvSpPr>
          <p:cNvPr id="6" name="Tijdelijke aanduiding voor tekst 5"/>
          <p:cNvSpPr>
            <a:spLocks noGrp="1" noSelect="1"/>
          </p:cNvSpPr>
          <p:nvPr>
            <p:ph type="body" sz="quarter" idx="12" hasCustomPrompt="1"/>
          </p:nvPr>
        </p:nvSpPr>
        <p:spPr bwMode="gray">
          <a:xfrm>
            <a:off x="612000" y="8308266"/>
            <a:ext cx="6486446" cy="580800"/>
          </a:xfrm>
        </p:spPr>
        <p:txBody>
          <a:bodyPr/>
          <a:lstStyle>
            <a:lvl1pPr marL="107100" indent="-107100">
              <a:spcBef>
                <a:spcPts val="0"/>
              </a:spcBef>
              <a:spcAft>
                <a:spcPts val="0"/>
              </a:spcAft>
              <a:buFont typeface="Corbel" panose="020B0503020204020204" pitchFamily="34" charset="0"/>
              <a:buChar char="*"/>
              <a:defRPr sz="1020" b="0"/>
            </a:lvl1pPr>
            <a:lvl2pPr marL="107100" indent="-107100">
              <a:spcBef>
                <a:spcPts val="0"/>
              </a:spcBef>
              <a:spcAft>
                <a:spcPts val="0"/>
              </a:spcAft>
              <a:buFont typeface="Corbel" panose="020B0503020204020204" pitchFamily="34" charset="0"/>
              <a:buChar char="*"/>
              <a:defRPr sz="1020" b="0"/>
            </a:lvl2pPr>
            <a:lvl3pPr marL="107100" indent="-107100">
              <a:spcBef>
                <a:spcPts val="0"/>
              </a:spcBef>
              <a:spcAft>
                <a:spcPts val="0"/>
              </a:spcAft>
              <a:buFont typeface="Corbel" panose="020B0503020204020204" pitchFamily="34" charset="0"/>
              <a:buChar char="*"/>
              <a:defRPr sz="1020" b="0"/>
            </a:lvl3pPr>
            <a:lvl4pPr marL="107100" indent="-107100">
              <a:spcBef>
                <a:spcPts val="0"/>
              </a:spcBef>
              <a:spcAft>
                <a:spcPts val="0"/>
              </a:spcAft>
              <a:buFont typeface="Corbel" panose="020B0503020204020204" pitchFamily="34" charset="0"/>
              <a:buChar char="*"/>
              <a:defRPr sz="1020" b="0"/>
            </a:lvl4pPr>
            <a:lvl5pPr marL="107100" indent="-107100">
              <a:spcBef>
                <a:spcPts val="0"/>
              </a:spcBef>
              <a:spcAft>
                <a:spcPts val="0"/>
              </a:spcAft>
              <a:buFont typeface="Corbel" panose="020B0503020204020204" pitchFamily="34" charset="0"/>
              <a:buChar char="*"/>
              <a:defRPr sz="1020" b="0"/>
            </a:lvl5pPr>
            <a:lvl6pPr marL="107100" indent="-107100">
              <a:spcBef>
                <a:spcPts val="0"/>
              </a:spcBef>
              <a:spcAft>
                <a:spcPts val="0"/>
              </a:spcAft>
              <a:buFont typeface="Corbel" panose="020B0503020204020204" pitchFamily="34" charset="0"/>
              <a:buChar char="*"/>
              <a:defRPr sz="1020" b="0"/>
            </a:lvl6pPr>
            <a:lvl7pPr marL="107100" indent="-107100">
              <a:spcBef>
                <a:spcPts val="0"/>
              </a:spcBef>
              <a:spcAft>
                <a:spcPts val="0"/>
              </a:spcAft>
              <a:buFont typeface="Corbel" panose="020B0503020204020204" pitchFamily="34" charset="0"/>
              <a:buChar char="*"/>
              <a:defRPr sz="1020" b="0"/>
            </a:lvl7pPr>
            <a:lvl8pPr marL="107100" indent="-107100">
              <a:spcBef>
                <a:spcPts val="0"/>
              </a:spcBef>
              <a:spcAft>
                <a:spcPts val="0"/>
              </a:spcAft>
              <a:buFont typeface="Corbel" panose="020B0503020204020204" pitchFamily="34" charset="0"/>
              <a:buChar char="*"/>
              <a:defRPr sz="1020" b="0"/>
            </a:lvl8pPr>
            <a:lvl9pPr marL="107100" indent="-107100">
              <a:spcBef>
                <a:spcPts val="0"/>
              </a:spcBef>
              <a:spcAft>
                <a:spcPts val="0"/>
              </a:spcAft>
              <a:buFont typeface="Corbel" panose="020B0503020204020204" pitchFamily="34" charset="0"/>
              <a:buChar char="*"/>
              <a:defRPr sz="1020" b="0"/>
            </a:lvl9pPr>
          </a:lstStyle>
          <a:p>
            <a:pPr lvl="0"/>
            <a:r>
              <a:rPr lang="en-GB"/>
              <a:t>[Footnote]</a:t>
            </a:r>
          </a:p>
        </p:txBody>
      </p:sp>
      <p:sp>
        <p:nvSpPr>
          <p:cNvPr id="8" name="Streep (PHJU)"/>
          <p:cNvSpPr>
            <a:spLocks noGrp="1" noSelect="1"/>
          </p:cNvSpPr>
          <p:nvPr>
            <p:ph type="body" idx="1002" hasCustomPrompt="1"/>
          </p:nvPr>
        </p:nvSpPr>
        <p:spPr bwMode="gray">
          <a:xfrm>
            <a:off x="612001" y="1729561"/>
            <a:ext cx="1209040" cy="528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Tree>
    <p:extLst>
      <p:ext uri="{BB962C8B-B14F-4D97-AF65-F5344CB8AC3E}">
        <p14:creationId xmlns:p14="http://schemas.microsoft.com/office/powerpoint/2010/main" val="37136816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ee objecten">
    <p:spTree>
      <p:nvGrpSpPr>
        <p:cNvPr id="1" name=""/>
        <p:cNvGrpSpPr/>
        <p:nvPr/>
      </p:nvGrpSpPr>
      <p:grpSpPr>
        <a:xfrm>
          <a:off x="0" y="0"/>
          <a:ext cx="0" cy="0"/>
          <a:chOff x="0" y="0"/>
          <a:chExt cx="0" cy="0"/>
        </a:xfrm>
      </p:grpSpPr>
      <p:sp>
        <p:nvSpPr>
          <p:cNvPr id="9" name="Tijdelijke aanduiding voor inhoud 8"/>
          <p:cNvSpPr>
            <a:spLocks noGrp="1" noSelect="1"/>
          </p:cNvSpPr>
          <p:nvPr>
            <p:ph sz="quarter" idx="13" hasCustomPrompt="1"/>
          </p:nvPr>
        </p:nvSpPr>
        <p:spPr bwMode="gray">
          <a:xfrm>
            <a:off x="612000" y="2692800"/>
            <a:ext cx="3060000" cy="5702400"/>
          </a:xfrm>
        </p:spPr>
        <p:txBody>
          <a:bodyPr/>
          <a:lstStyle>
            <a:lvl1pPr>
              <a:defRPr/>
            </a:lvl1pPr>
          </a:lstStyle>
          <a:p>
            <a:pPr lvl="0"/>
            <a:r>
              <a:rPr lang="en-GB" noProof="1"/>
              <a:t>[Type text or click on icon to insert an object]</a:t>
            </a:r>
          </a:p>
        </p:txBody>
      </p:sp>
      <p:sp>
        <p:nvSpPr>
          <p:cNvPr id="11" name="Tijdelijke aanduiding voor inhoud 10"/>
          <p:cNvSpPr>
            <a:spLocks noGrp="1" noSelect="1"/>
          </p:cNvSpPr>
          <p:nvPr>
            <p:ph sz="quarter" idx="14" hasCustomPrompt="1"/>
          </p:nvPr>
        </p:nvSpPr>
        <p:spPr bwMode="gray">
          <a:xfrm>
            <a:off x="4040837" y="2692800"/>
            <a:ext cx="3060000" cy="5702400"/>
          </a:xfrm>
        </p:spPr>
        <p:txBody>
          <a:bodyPr/>
          <a:lstStyle>
            <a:lvl1pPr>
              <a:defRPr/>
            </a:lvl1pPr>
          </a:lstStyle>
          <a:p>
            <a:pPr lvl="0"/>
            <a:r>
              <a:rPr lang="en-GB" noProof="1"/>
              <a:t>[Type text or click on icon to insert an object]</a:t>
            </a:r>
          </a:p>
        </p:txBody>
      </p:sp>
      <p:sp>
        <p:nvSpPr>
          <p:cNvPr id="2" name="Tijdelijke aanduiding voor voettekst 1"/>
          <p:cNvSpPr>
            <a:spLocks noGrp="1" noSelect="1"/>
          </p:cNvSpPr>
          <p:nvPr>
            <p:ph type="ftr" sz="quarter" idx="15"/>
          </p:nvPr>
        </p:nvSpPr>
        <p:spPr bwMode="gray"/>
        <p:txBody>
          <a:bodyPr/>
          <a:lstStyle/>
          <a:p>
            <a:endParaRPr lang="en-US"/>
          </a:p>
        </p:txBody>
      </p:sp>
      <p:sp>
        <p:nvSpPr>
          <p:cNvPr id="3" name="Tijdelijke aanduiding voor dianummer 2"/>
          <p:cNvSpPr>
            <a:spLocks noGrp="1" noSelect="1"/>
          </p:cNvSpPr>
          <p:nvPr>
            <p:ph type="sldNum" sz="quarter" idx="16"/>
          </p:nvPr>
        </p:nvSpPr>
        <p:spPr bwMode="gray"/>
        <p:txBody>
          <a:bodyPr/>
          <a:lstStyle/>
          <a:p>
            <a:fld id="{ADECF1AC-24A7-42A4-9FAC-3CE63B9FFA68}" type="slidenum">
              <a:rPr lang="en-US" smtClean="0"/>
              <a:t>‹#›</a:t>
            </a:fld>
            <a:endParaRPr lang="en-US"/>
          </a:p>
        </p:txBody>
      </p:sp>
      <p:sp>
        <p:nvSpPr>
          <p:cNvPr id="5" name="Titel 4"/>
          <p:cNvSpPr>
            <a:spLocks noGrp="1" noSelect="1"/>
          </p:cNvSpPr>
          <p:nvPr>
            <p:ph type="title" hasCustomPrompt="1"/>
          </p:nvPr>
        </p:nvSpPr>
        <p:spPr bwMode="gray"/>
        <p:txBody>
          <a:bodyPr/>
          <a:lstStyle>
            <a:lvl1pPr>
              <a:defRPr/>
            </a:lvl1pPr>
          </a:lstStyle>
          <a:p>
            <a:r>
              <a:rPr lang="en-GB" noProof="1"/>
              <a:t>[Title]</a:t>
            </a:r>
            <a:endParaRPr lang="en-GB"/>
          </a:p>
        </p:txBody>
      </p:sp>
      <p:sp>
        <p:nvSpPr>
          <p:cNvPr id="8" name="Streep (PHJU)"/>
          <p:cNvSpPr>
            <a:spLocks noGrp="1" noSelect="1"/>
          </p:cNvSpPr>
          <p:nvPr>
            <p:ph type="body" idx="1002" hasCustomPrompt="1"/>
          </p:nvPr>
        </p:nvSpPr>
        <p:spPr bwMode="gray">
          <a:xfrm>
            <a:off x="612001" y="2232481"/>
            <a:ext cx="1209040" cy="264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
        <p:nvSpPr>
          <p:cNvPr id="10" name="Streep (PHJU)"/>
          <p:cNvSpPr>
            <a:spLocks noGrp="1" noSelect="1"/>
          </p:cNvSpPr>
          <p:nvPr>
            <p:ph type="body" idx="1003" hasCustomPrompt="1"/>
          </p:nvPr>
        </p:nvSpPr>
        <p:spPr bwMode="gray">
          <a:xfrm>
            <a:off x="604520" y="2233449"/>
            <a:ext cx="1209040" cy="528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Tree>
    <p:extLst>
      <p:ext uri="{BB962C8B-B14F-4D97-AF65-F5344CB8AC3E}">
        <p14:creationId xmlns:p14="http://schemas.microsoft.com/office/powerpoint/2010/main" val="16939970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of two small text">
    <p:spTree>
      <p:nvGrpSpPr>
        <p:cNvPr id="1" name=""/>
        <p:cNvGrpSpPr/>
        <p:nvPr/>
      </p:nvGrpSpPr>
      <p:grpSpPr>
        <a:xfrm>
          <a:off x="0" y="0"/>
          <a:ext cx="0" cy="0"/>
          <a:chOff x="0" y="0"/>
          <a:chExt cx="0" cy="0"/>
        </a:xfrm>
      </p:grpSpPr>
      <p:sp>
        <p:nvSpPr>
          <p:cNvPr id="2" name="Tijdelijke aanduiding voor voettekst 1"/>
          <p:cNvSpPr>
            <a:spLocks noGrp="1" noSelect="1"/>
          </p:cNvSpPr>
          <p:nvPr>
            <p:ph type="ftr" sz="quarter" idx="15"/>
          </p:nvPr>
        </p:nvSpPr>
        <p:spPr bwMode="gray"/>
        <p:txBody>
          <a:bodyPr/>
          <a:lstStyle/>
          <a:p>
            <a:endParaRPr lang="en-US"/>
          </a:p>
        </p:txBody>
      </p:sp>
      <p:sp>
        <p:nvSpPr>
          <p:cNvPr id="3" name="Tijdelijke aanduiding voor dianummer 2"/>
          <p:cNvSpPr>
            <a:spLocks noGrp="1" noSelect="1"/>
          </p:cNvSpPr>
          <p:nvPr>
            <p:ph type="sldNum" sz="quarter" idx="16"/>
          </p:nvPr>
        </p:nvSpPr>
        <p:spPr bwMode="gray"/>
        <p:txBody>
          <a:bodyPr/>
          <a:lstStyle/>
          <a:p>
            <a:fld id="{ADECF1AC-24A7-42A4-9FAC-3CE63B9FFA68}" type="slidenum">
              <a:rPr lang="en-US" smtClean="0"/>
              <a:t>‹#›</a:t>
            </a:fld>
            <a:endParaRPr lang="en-US"/>
          </a:p>
        </p:txBody>
      </p:sp>
      <p:sp>
        <p:nvSpPr>
          <p:cNvPr id="5" name="Titel 4"/>
          <p:cNvSpPr>
            <a:spLocks noGrp="1" noSelect="1"/>
          </p:cNvSpPr>
          <p:nvPr>
            <p:ph type="title" hasCustomPrompt="1"/>
          </p:nvPr>
        </p:nvSpPr>
        <p:spPr bwMode="gray"/>
        <p:txBody>
          <a:bodyPr/>
          <a:lstStyle>
            <a:lvl1pPr>
              <a:defRPr/>
            </a:lvl1pPr>
          </a:lstStyle>
          <a:p>
            <a:r>
              <a:rPr lang="en-GB" noProof="1"/>
              <a:t>[Title]</a:t>
            </a:r>
            <a:endParaRPr lang="en-GB"/>
          </a:p>
        </p:txBody>
      </p:sp>
      <p:sp>
        <p:nvSpPr>
          <p:cNvPr id="6" name="Tijdelijke aanduiding voor tekst 5"/>
          <p:cNvSpPr>
            <a:spLocks noGrp="1" noSelect="1"/>
          </p:cNvSpPr>
          <p:nvPr>
            <p:ph type="body" sz="quarter" idx="17" hasCustomPrompt="1"/>
          </p:nvPr>
        </p:nvSpPr>
        <p:spPr bwMode="gray">
          <a:xfrm>
            <a:off x="612000" y="2958231"/>
            <a:ext cx="3060000" cy="5438052"/>
          </a:xfrm>
        </p:spPr>
        <p:txBody>
          <a:bodyPr/>
          <a:lstStyle>
            <a:lvl1pPr>
              <a:defRPr sz="1020"/>
            </a:lvl1pPr>
            <a:lvl2pPr>
              <a:defRPr sz="1020"/>
            </a:lvl2pPr>
            <a:lvl3pPr>
              <a:defRPr sz="1020"/>
            </a:lvl3pPr>
            <a:lvl4pPr>
              <a:defRPr sz="1020"/>
            </a:lvl4pPr>
            <a:lvl5pPr>
              <a:defRPr sz="1020"/>
            </a:lvl5pPr>
            <a:lvl6pPr>
              <a:defRPr sz="1020"/>
            </a:lvl6pPr>
            <a:lvl7pPr>
              <a:defRPr sz="1020"/>
            </a:lvl7pPr>
            <a:lvl8pPr>
              <a:defRPr sz="1020"/>
            </a:lvl8pPr>
            <a:lvl9pPr>
              <a:defRPr sz="1020"/>
            </a:lvl9pPr>
          </a:lstStyle>
          <a:p>
            <a:pPr lvl="0"/>
            <a:r>
              <a:rPr lang="en-GB"/>
              <a:t>[Text]</a:t>
            </a:r>
          </a:p>
        </p:txBody>
      </p:sp>
      <p:sp>
        <p:nvSpPr>
          <p:cNvPr id="8" name="Tijdelijke aanduiding voor tekst 7"/>
          <p:cNvSpPr>
            <a:spLocks noGrp="1" noSelect="1"/>
          </p:cNvSpPr>
          <p:nvPr>
            <p:ph type="body" sz="quarter" idx="18" hasCustomPrompt="1"/>
          </p:nvPr>
        </p:nvSpPr>
        <p:spPr bwMode="gray">
          <a:xfrm>
            <a:off x="4042260" y="2957882"/>
            <a:ext cx="3060000" cy="5438400"/>
          </a:xfrm>
        </p:spPr>
        <p:txBody>
          <a:bodyPr/>
          <a:lstStyle>
            <a:lvl1pPr>
              <a:defRPr sz="1020"/>
            </a:lvl1pPr>
            <a:lvl2pPr>
              <a:defRPr sz="1020"/>
            </a:lvl2pPr>
            <a:lvl3pPr>
              <a:defRPr sz="1020"/>
            </a:lvl3pPr>
            <a:lvl4pPr>
              <a:defRPr sz="1020"/>
            </a:lvl4pPr>
            <a:lvl5pPr>
              <a:defRPr sz="1020"/>
            </a:lvl5pPr>
            <a:lvl6pPr>
              <a:defRPr sz="1020"/>
            </a:lvl6pPr>
            <a:lvl7pPr>
              <a:defRPr sz="1020"/>
            </a:lvl7pPr>
            <a:lvl8pPr>
              <a:defRPr sz="1020"/>
            </a:lvl8pPr>
            <a:lvl9pPr>
              <a:defRPr sz="1020"/>
            </a:lvl9pPr>
          </a:lstStyle>
          <a:p>
            <a:pPr lvl="0"/>
            <a:r>
              <a:rPr lang="en-GB"/>
              <a:t>[Text]</a:t>
            </a:r>
          </a:p>
        </p:txBody>
      </p:sp>
      <p:sp>
        <p:nvSpPr>
          <p:cNvPr id="11" name="Streep (PHJU)"/>
          <p:cNvSpPr>
            <a:spLocks noGrp="1" noSelect="1"/>
          </p:cNvSpPr>
          <p:nvPr>
            <p:ph type="body" idx="1002" hasCustomPrompt="1"/>
          </p:nvPr>
        </p:nvSpPr>
        <p:spPr bwMode="gray">
          <a:xfrm>
            <a:off x="604520" y="2233449"/>
            <a:ext cx="1209040" cy="528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Tree>
    <p:extLst>
      <p:ext uri="{BB962C8B-B14F-4D97-AF65-F5344CB8AC3E}">
        <p14:creationId xmlns:p14="http://schemas.microsoft.com/office/powerpoint/2010/main" val="2379746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and image (black text)">
    <p:spTree>
      <p:nvGrpSpPr>
        <p:cNvPr id="1" name=""/>
        <p:cNvGrpSpPr/>
        <p:nvPr/>
      </p:nvGrpSpPr>
      <p:grpSpPr>
        <a:xfrm>
          <a:off x="0" y="0"/>
          <a:ext cx="0" cy="0"/>
          <a:chOff x="0" y="0"/>
          <a:chExt cx="0" cy="0"/>
        </a:xfrm>
      </p:grpSpPr>
      <p:sp>
        <p:nvSpPr>
          <p:cNvPr id="95" name="Tijdelijke aanduiding voor afbeelding 94"/>
          <p:cNvSpPr>
            <a:spLocks noGrp="1" noSelect="1"/>
          </p:cNvSpPr>
          <p:nvPr>
            <p:ph type="pic" sz="quarter" idx="12" hasCustomPrompt="1"/>
          </p:nvPr>
        </p:nvSpPr>
        <p:spPr bwMode="gray">
          <a:xfrm>
            <a:off x="2" y="3"/>
            <a:ext cx="7772398" cy="10058397"/>
          </a:xfrm>
          <a:custGeom>
            <a:avLst/>
            <a:gdLst>
              <a:gd name="connsiteX0" fmla="*/ 797599 w 9143998"/>
              <a:gd name="connsiteY0" fmla="*/ 6612261 h 6857998"/>
              <a:gd name="connsiteX1" fmla="*/ 751385 w 9143998"/>
              <a:gd name="connsiteY1" fmla="*/ 6613749 h 6857998"/>
              <a:gd name="connsiteX2" fmla="*/ 790986 w 9143998"/>
              <a:gd name="connsiteY2" fmla="*/ 6696796 h 6857998"/>
              <a:gd name="connsiteX3" fmla="*/ 880768 w 9143998"/>
              <a:gd name="connsiteY3" fmla="*/ 6715304 h 6857998"/>
              <a:gd name="connsiteX4" fmla="*/ 841168 w 9143998"/>
              <a:gd name="connsiteY4" fmla="*/ 6632258 h 6857998"/>
              <a:gd name="connsiteX5" fmla="*/ 797599 w 9143998"/>
              <a:gd name="connsiteY5" fmla="*/ 6612261 h 6857998"/>
              <a:gd name="connsiteX6" fmla="*/ 1782094 w 9143998"/>
              <a:gd name="connsiteY6" fmla="*/ 6586577 h 6857998"/>
              <a:gd name="connsiteX7" fmla="*/ 1798811 w 9143998"/>
              <a:gd name="connsiteY7" fmla="*/ 6618563 h 6857998"/>
              <a:gd name="connsiteX8" fmla="*/ 1782094 w 9143998"/>
              <a:gd name="connsiteY8" fmla="*/ 6650866 h 6857998"/>
              <a:gd name="connsiteX9" fmla="*/ 1765059 w 9143998"/>
              <a:gd name="connsiteY9" fmla="*/ 6618563 h 6857998"/>
              <a:gd name="connsiteX10" fmla="*/ 1782094 w 9143998"/>
              <a:gd name="connsiteY10" fmla="*/ 6586577 h 6857998"/>
              <a:gd name="connsiteX11" fmla="*/ 1684054 w 9143998"/>
              <a:gd name="connsiteY11" fmla="*/ 6586577 h 6857998"/>
              <a:gd name="connsiteX12" fmla="*/ 1700771 w 9143998"/>
              <a:gd name="connsiteY12" fmla="*/ 6618563 h 6857998"/>
              <a:gd name="connsiteX13" fmla="*/ 1684054 w 9143998"/>
              <a:gd name="connsiteY13" fmla="*/ 6650866 h 6857998"/>
              <a:gd name="connsiteX14" fmla="*/ 1667019 w 9143998"/>
              <a:gd name="connsiteY14" fmla="*/ 6618563 h 6857998"/>
              <a:gd name="connsiteX15" fmla="*/ 1684054 w 9143998"/>
              <a:gd name="connsiteY15" fmla="*/ 6586577 h 6857998"/>
              <a:gd name="connsiteX16" fmla="*/ 1350557 w 9143998"/>
              <a:gd name="connsiteY16" fmla="*/ 6586577 h 6857998"/>
              <a:gd name="connsiteX17" fmla="*/ 1360363 w 9143998"/>
              <a:gd name="connsiteY17" fmla="*/ 6590464 h 6857998"/>
              <a:gd name="connsiteX18" fmla="*/ 1366308 w 9143998"/>
              <a:gd name="connsiteY18" fmla="*/ 6618479 h 6857998"/>
              <a:gd name="connsiteX19" fmla="*/ 1366308 w 9143998"/>
              <a:gd name="connsiteY19" fmla="*/ 6621556 h 6857998"/>
              <a:gd name="connsiteX20" fmla="*/ 1350397 w 9143998"/>
              <a:gd name="connsiteY20" fmla="*/ 6650866 h 6857998"/>
              <a:gd name="connsiteX21" fmla="*/ 1341557 w 9143998"/>
              <a:gd name="connsiteY21" fmla="*/ 6646980 h 6857998"/>
              <a:gd name="connsiteX22" fmla="*/ 1334325 w 9143998"/>
              <a:gd name="connsiteY22" fmla="*/ 6618479 h 6857998"/>
              <a:gd name="connsiteX23" fmla="*/ 1350557 w 9143998"/>
              <a:gd name="connsiteY23" fmla="*/ 6586577 h 6857998"/>
              <a:gd name="connsiteX24" fmla="*/ 1148209 w 9143998"/>
              <a:gd name="connsiteY24" fmla="*/ 6586577 h 6857998"/>
              <a:gd name="connsiteX25" fmla="*/ 1157852 w 9143998"/>
              <a:gd name="connsiteY25" fmla="*/ 6590464 h 6857998"/>
              <a:gd name="connsiteX26" fmla="*/ 1163959 w 9143998"/>
              <a:gd name="connsiteY26" fmla="*/ 6618317 h 6857998"/>
              <a:gd name="connsiteX27" fmla="*/ 1163959 w 9143998"/>
              <a:gd name="connsiteY27" fmla="*/ 6621394 h 6857998"/>
              <a:gd name="connsiteX28" fmla="*/ 1148048 w 9143998"/>
              <a:gd name="connsiteY28" fmla="*/ 6650866 h 6857998"/>
              <a:gd name="connsiteX29" fmla="*/ 1139208 w 9143998"/>
              <a:gd name="connsiteY29" fmla="*/ 6646980 h 6857998"/>
              <a:gd name="connsiteX30" fmla="*/ 1131815 w 9143998"/>
              <a:gd name="connsiteY30" fmla="*/ 6618317 h 6857998"/>
              <a:gd name="connsiteX31" fmla="*/ 1148209 w 9143998"/>
              <a:gd name="connsiteY31" fmla="*/ 6586577 h 6857998"/>
              <a:gd name="connsiteX32" fmla="*/ 2139040 w 9143998"/>
              <a:gd name="connsiteY32" fmla="*/ 6583362 h 6857998"/>
              <a:gd name="connsiteX33" fmla="*/ 2149060 w 9143998"/>
              <a:gd name="connsiteY33" fmla="*/ 6587193 h 6857998"/>
              <a:gd name="connsiteX34" fmla="*/ 2152241 w 9143998"/>
              <a:gd name="connsiteY34" fmla="*/ 6599518 h 6857998"/>
              <a:gd name="connsiteX35" fmla="*/ 2136495 w 9143998"/>
              <a:gd name="connsiteY35" fmla="*/ 6615340 h 6857998"/>
              <a:gd name="connsiteX36" fmla="*/ 2121863 w 9143998"/>
              <a:gd name="connsiteY36" fmla="*/ 6614674 h 6857998"/>
              <a:gd name="connsiteX37" fmla="*/ 2139040 w 9143998"/>
              <a:gd name="connsiteY37" fmla="*/ 6583362 h 6857998"/>
              <a:gd name="connsiteX38" fmla="*/ 2001721 w 9143998"/>
              <a:gd name="connsiteY38" fmla="*/ 6583362 h 6857998"/>
              <a:gd name="connsiteX39" fmla="*/ 2012268 w 9143998"/>
              <a:gd name="connsiteY39" fmla="*/ 6587193 h 6857998"/>
              <a:gd name="connsiteX40" fmla="*/ 2015617 w 9143998"/>
              <a:gd name="connsiteY40" fmla="*/ 6599518 h 6857998"/>
              <a:gd name="connsiteX41" fmla="*/ 1999042 w 9143998"/>
              <a:gd name="connsiteY41" fmla="*/ 6615340 h 6857998"/>
              <a:gd name="connsiteX42" fmla="*/ 1983641 w 9143998"/>
              <a:gd name="connsiteY42" fmla="*/ 6614674 h 6857998"/>
              <a:gd name="connsiteX43" fmla="*/ 2001721 w 9143998"/>
              <a:gd name="connsiteY43" fmla="*/ 6583362 h 6857998"/>
              <a:gd name="connsiteX44" fmla="*/ 1451153 w 9143998"/>
              <a:gd name="connsiteY44" fmla="*/ 6583362 h 6857998"/>
              <a:gd name="connsiteX45" fmla="*/ 1461173 w 9143998"/>
              <a:gd name="connsiteY45" fmla="*/ 6587193 h 6857998"/>
              <a:gd name="connsiteX46" fmla="*/ 1464354 w 9143998"/>
              <a:gd name="connsiteY46" fmla="*/ 6599518 h 6857998"/>
              <a:gd name="connsiteX47" fmla="*/ 1448608 w 9143998"/>
              <a:gd name="connsiteY47" fmla="*/ 6615340 h 6857998"/>
              <a:gd name="connsiteX48" fmla="*/ 1433976 w 9143998"/>
              <a:gd name="connsiteY48" fmla="*/ 6614674 h 6857998"/>
              <a:gd name="connsiteX49" fmla="*/ 1451153 w 9143998"/>
              <a:gd name="connsiteY49" fmla="*/ 6583362 h 6857998"/>
              <a:gd name="connsiteX50" fmla="*/ 1547995 w 9143998"/>
              <a:gd name="connsiteY50" fmla="*/ 6567290 h 6857998"/>
              <a:gd name="connsiteX51" fmla="*/ 1525708 w 9143998"/>
              <a:gd name="connsiteY51" fmla="*/ 6577975 h 6857998"/>
              <a:gd name="connsiteX52" fmla="*/ 1525708 w 9143998"/>
              <a:gd name="connsiteY52" fmla="*/ 6577656 h 6857998"/>
              <a:gd name="connsiteX53" fmla="*/ 1514726 w 9143998"/>
              <a:gd name="connsiteY53" fmla="*/ 6567609 h 6857998"/>
              <a:gd name="connsiteX54" fmla="*/ 1499868 w 9143998"/>
              <a:gd name="connsiteY54" fmla="*/ 6570001 h 6857998"/>
              <a:gd name="connsiteX55" fmla="*/ 1501806 w 9143998"/>
              <a:gd name="connsiteY55" fmla="*/ 6581165 h 6857998"/>
              <a:gd name="connsiteX56" fmla="*/ 1501806 w 9143998"/>
              <a:gd name="connsiteY56" fmla="*/ 6659786 h 6857998"/>
              <a:gd name="connsiteX57" fmla="*/ 1512949 w 9143998"/>
              <a:gd name="connsiteY57" fmla="*/ 6669833 h 6857998"/>
              <a:gd name="connsiteX58" fmla="*/ 1526354 w 9143998"/>
              <a:gd name="connsiteY58" fmla="*/ 6667282 h 6857998"/>
              <a:gd name="connsiteX59" fmla="*/ 1526354 w 9143998"/>
              <a:gd name="connsiteY59" fmla="*/ 6600621 h 6857998"/>
              <a:gd name="connsiteX60" fmla="*/ 1538951 w 9143998"/>
              <a:gd name="connsiteY60" fmla="*/ 6588182 h 6857998"/>
              <a:gd name="connsiteX61" fmla="*/ 1546057 w 9143998"/>
              <a:gd name="connsiteY61" fmla="*/ 6591052 h 6857998"/>
              <a:gd name="connsiteX62" fmla="*/ 1550095 w 9143998"/>
              <a:gd name="connsiteY62" fmla="*/ 6605564 h 6857998"/>
              <a:gd name="connsiteX63" fmla="*/ 1550095 w 9143998"/>
              <a:gd name="connsiteY63" fmla="*/ 6659786 h 6857998"/>
              <a:gd name="connsiteX64" fmla="*/ 1561238 w 9143998"/>
              <a:gd name="connsiteY64" fmla="*/ 6669833 h 6857998"/>
              <a:gd name="connsiteX65" fmla="*/ 1574804 w 9143998"/>
              <a:gd name="connsiteY65" fmla="*/ 6667282 h 6857998"/>
              <a:gd name="connsiteX66" fmla="*/ 1574804 w 9143998"/>
              <a:gd name="connsiteY66" fmla="*/ 6600621 h 6857998"/>
              <a:gd name="connsiteX67" fmla="*/ 1587401 w 9143998"/>
              <a:gd name="connsiteY67" fmla="*/ 6588182 h 6857998"/>
              <a:gd name="connsiteX68" fmla="*/ 1594507 w 9143998"/>
              <a:gd name="connsiteY68" fmla="*/ 6591052 h 6857998"/>
              <a:gd name="connsiteX69" fmla="*/ 1598383 w 9143998"/>
              <a:gd name="connsiteY69" fmla="*/ 6605564 h 6857998"/>
              <a:gd name="connsiteX70" fmla="*/ 1598383 w 9143998"/>
              <a:gd name="connsiteY70" fmla="*/ 6646550 h 6857998"/>
              <a:gd name="connsiteX71" fmla="*/ 1602905 w 9143998"/>
              <a:gd name="connsiteY71" fmla="*/ 6664730 h 6857998"/>
              <a:gd name="connsiteX72" fmla="*/ 1616309 w 9143998"/>
              <a:gd name="connsiteY72" fmla="*/ 6670152 h 6857998"/>
              <a:gd name="connsiteX73" fmla="*/ 1633267 w 9143998"/>
              <a:gd name="connsiteY73" fmla="*/ 6657873 h 6857998"/>
              <a:gd name="connsiteX74" fmla="*/ 1632137 w 9143998"/>
              <a:gd name="connsiteY74" fmla="*/ 6652450 h 6857998"/>
              <a:gd name="connsiteX75" fmla="*/ 1628746 w 9143998"/>
              <a:gd name="connsiteY75" fmla="*/ 6652450 h 6857998"/>
              <a:gd name="connsiteX76" fmla="*/ 1624385 w 9143998"/>
              <a:gd name="connsiteY76" fmla="*/ 6651494 h 6857998"/>
              <a:gd name="connsiteX77" fmla="*/ 1622769 w 9143998"/>
              <a:gd name="connsiteY77" fmla="*/ 6643839 h 6857998"/>
              <a:gd name="connsiteX78" fmla="*/ 1622769 w 9143998"/>
              <a:gd name="connsiteY78" fmla="*/ 6607638 h 6857998"/>
              <a:gd name="connsiteX79" fmla="*/ 1593054 w 9143998"/>
              <a:gd name="connsiteY79" fmla="*/ 6567290 h 6857998"/>
              <a:gd name="connsiteX80" fmla="*/ 1568505 w 9143998"/>
              <a:gd name="connsiteY80" fmla="*/ 6577975 h 6857998"/>
              <a:gd name="connsiteX81" fmla="*/ 1547995 w 9143998"/>
              <a:gd name="connsiteY81" fmla="*/ 6567290 h 6857998"/>
              <a:gd name="connsiteX82" fmla="*/ 2137122 w 9143998"/>
              <a:gd name="connsiteY82" fmla="*/ 6565683 h 6857998"/>
              <a:gd name="connsiteX83" fmla="*/ 2098073 w 9143998"/>
              <a:gd name="connsiteY83" fmla="*/ 6615819 h 6857998"/>
              <a:gd name="connsiteX84" fmla="*/ 2110613 w 9143998"/>
              <a:gd name="connsiteY84" fmla="*/ 6659669 h 6857998"/>
              <a:gd name="connsiteX85" fmla="*/ 2141249 w 9143998"/>
              <a:gd name="connsiteY85" fmla="*/ 6671759 h 6857998"/>
              <a:gd name="connsiteX86" fmla="*/ 2167441 w 9143998"/>
              <a:gd name="connsiteY86" fmla="*/ 6664344 h 6857998"/>
              <a:gd name="connsiteX87" fmla="*/ 2172361 w 9143998"/>
              <a:gd name="connsiteY87" fmla="*/ 6652736 h 6857998"/>
              <a:gd name="connsiteX88" fmla="*/ 2168869 w 9143998"/>
              <a:gd name="connsiteY88" fmla="*/ 6645160 h 6857998"/>
              <a:gd name="connsiteX89" fmla="*/ 2163155 w 9143998"/>
              <a:gd name="connsiteY89" fmla="*/ 6647578 h 6857998"/>
              <a:gd name="connsiteX90" fmla="*/ 2143471 w 9143998"/>
              <a:gd name="connsiteY90" fmla="*/ 6651286 h 6857998"/>
              <a:gd name="connsiteX91" fmla="*/ 2122042 w 9143998"/>
              <a:gd name="connsiteY91" fmla="*/ 6629845 h 6857998"/>
              <a:gd name="connsiteX92" fmla="*/ 2137915 w 9143998"/>
              <a:gd name="connsiteY92" fmla="*/ 6630812 h 6857998"/>
              <a:gd name="connsiteX93" fmla="*/ 2174742 w 9143998"/>
              <a:gd name="connsiteY93" fmla="*/ 6600021 h 6857998"/>
              <a:gd name="connsiteX94" fmla="*/ 2167441 w 9143998"/>
              <a:gd name="connsiteY94" fmla="*/ 6576323 h 6857998"/>
              <a:gd name="connsiteX95" fmla="*/ 2137122 w 9143998"/>
              <a:gd name="connsiteY95" fmla="*/ 6565683 h 6857998"/>
              <a:gd name="connsiteX96" fmla="*/ 1999798 w 9143998"/>
              <a:gd name="connsiteY96" fmla="*/ 6565683 h 6857998"/>
              <a:gd name="connsiteX97" fmla="*/ 1959855 w 9143998"/>
              <a:gd name="connsiteY97" fmla="*/ 6615819 h 6857998"/>
              <a:gd name="connsiteX98" fmla="*/ 1972792 w 9143998"/>
              <a:gd name="connsiteY98" fmla="*/ 6659669 h 6857998"/>
              <a:gd name="connsiteX99" fmla="*/ 2004003 w 9143998"/>
              <a:gd name="connsiteY99" fmla="*/ 6671759 h 6857998"/>
              <a:gd name="connsiteX100" fmla="*/ 2030686 w 9143998"/>
              <a:gd name="connsiteY100" fmla="*/ 6664344 h 6857998"/>
              <a:gd name="connsiteX101" fmla="*/ 2035538 w 9143998"/>
              <a:gd name="connsiteY101" fmla="*/ 6652736 h 6857998"/>
              <a:gd name="connsiteX102" fmla="*/ 2031979 w 9143998"/>
              <a:gd name="connsiteY102" fmla="*/ 6645160 h 6857998"/>
              <a:gd name="connsiteX103" fmla="*/ 2026319 w 9143998"/>
              <a:gd name="connsiteY103" fmla="*/ 6647578 h 6857998"/>
              <a:gd name="connsiteX104" fmla="*/ 2006267 w 9143998"/>
              <a:gd name="connsiteY104" fmla="*/ 6651286 h 6857998"/>
              <a:gd name="connsiteX105" fmla="*/ 1984436 w 9143998"/>
              <a:gd name="connsiteY105" fmla="*/ 6629845 h 6857998"/>
              <a:gd name="connsiteX106" fmla="*/ 2000607 w 9143998"/>
              <a:gd name="connsiteY106" fmla="*/ 6630812 h 6857998"/>
              <a:gd name="connsiteX107" fmla="*/ 2037963 w 9143998"/>
              <a:gd name="connsiteY107" fmla="*/ 6600021 h 6857998"/>
              <a:gd name="connsiteX108" fmla="*/ 2030686 w 9143998"/>
              <a:gd name="connsiteY108" fmla="*/ 6576323 h 6857998"/>
              <a:gd name="connsiteX109" fmla="*/ 1999798 w 9143998"/>
              <a:gd name="connsiteY109" fmla="*/ 6565683 h 6857998"/>
              <a:gd name="connsiteX110" fmla="*/ 1878850 w 9143998"/>
              <a:gd name="connsiteY110" fmla="*/ 6565683 h 6857998"/>
              <a:gd name="connsiteX111" fmla="*/ 1861974 w 9143998"/>
              <a:gd name="connsiteY111" fmla="*/ 6574028 h 6857998"/>
              <a:gd name="connsiteX112" fmla="*/ 1851687 w 9143998"/>
              <a:gd name="connsiteY112" fmla="*/ 6567288 h 6857998"/>
              <a:gd name="connsiteX113" fmla="*/ 1837383 w 9143998"/>
              <a:gd name="connsiteY113" fmla="*/ 6569695 h 6857998"/>
              <a:gd name="connsiteX114" fmla="*/ 1839312 w 9143998"/>
              <a:gd name="connsiteY114" fmla="*/ 6582694 h 6857998"/>
              <a:gd name="connsiteX115" fmla="*/ 1839312 w 9143998"/>
              <a:gd name="connsiteY115" fmla="*/ 6660042 h 6857998"/>
              <a:gd name="connsiteX116" fmla="*/ 1850402 w 9143998"/>
              <a:gd name="connsiteY116" fmla="*/ 6670152 h 6857998"/>
              <a:gd name="connsiteX117" fmla="*/ 1863902 w 9143998"/>
              <a:gd name="connsiteY117" fmla="*/ 6667585 h 6857998"/>
              <a:gd name="connsiteX118" fmla="*/ 1863902 w 9143998"/>
              <a:gd name="connsiteY118" fmla="*/ 6607888 h 6857998"/>
              <a:gd name="connsiteX119" fmla="*/ 1880296 w 9143998"/>
              <a:gd name="connsiteY119" fmla="*/ 6588792 h 6857998"/>
              <a:gd name="connsiteX120" fmla="*/ 1887207 w 9143998"/>
              <a:gd name="connsiteY120" fmla="*/ 6590396 h 6857998"/>
              <a:gd name="connsiteX121" fmla="*/ 1891064 w 9143998"/>
              <a:gd name="connsiteY121" fmla="*/ 6592322 h 6857998"/>
              <a:gd name="connsiteX122" fmla="*/ 1895243 w 9143998"/>
              <a:gd name="connsiteY122" fmla="*/ 6580928 h 6857998"/>
              <a:gd name="connsiteX123" fmla="*/ 1878850 w 9143998"/>
              <a:gd name="connsiteY123" fmla="*/ 6565683 h 6857998"/>
              <a:gd name="connsiteX124" fmla="*/ 1781935 w 9143998"/>
              <a:gd name="connsiteY124" fmla="*/ 6565683 h 6857998"/>
              <a:gd name="connsiteX125" fmla="*/ 1739344 w 9143998"/>
              <a:gd name="connsiteY125" fmla="*/ 6618721 h 6857998"/>
              <a:gd name="connsiteX126" fmla="*/ 1781935 w 9143998"/>
              <a:gd name="connsiteY126" fmla="*/ 6671759 h 6857998"/>
              <a:gd name="connsiteX127" fmla="*/ 1824526 w 9143998"/>
              <a:gd name="connsiteY127" fmla="*/ 6618721 h 6857998"/>
              <a:gd name="connsiteX128" fmla="*/ 1781935 w 9143998"/>
              <a:gd name="connsiteY128" fmla="*/ 6565683 h 6857998"/>
              <a:gd name="connsiteX129" fmla="*/ 1683895 w 9143998"/>
              <a:gd name="connsiteY129" fmla="*/ 6565683 h 6857998"/>
              <a:gd name="connsiteX130" fmla="*/ 1641304 w 9143998"/>
              <a:gd name="connsiteY130" fmla="*/ 6618721 h 6857998"/>
              <a:gd name="connsiteX131" fmla="*/ 1683895 w 9143998"/>
              <a:gd name="connsiteY131" fmla="*/ 6671759 h 6857998"/>
              <a:gd name="connsiteX132" fmla="*/ 1726486 w 9143998"/>
              <a:gd name="connsiteY132" fmla="*/ 6618721 h 6857998"/>
              <a:gd name="connsiteX133" fmla="*/ 1683895 w 9143998"/>
              <a:gd name="connsiteY133" fmla="*/ 6565683 h 6857998"/>
              <a:gd name="connsiteX134" fmla="*/ 1449234 w 9143998"/>
              <a:gd name="connsiteY134" fmla="*/ 6565683 h 6857998"/>
              <a:gd name="connsiteX135" fmla="*/ 1410185 w 9143998"/>
              <a:gd name="connsiteY135" fmla="*/ 6615819 h 6857998"/>
              <a:gd name="connsiteX136" fmla="*/ 1422726 w 9143998"/>
              <a:gd name="connsiteY136" fmla="*/ 6659669 h 6857998"/>
              <a:gd name="connsiteX137" fmla="*/ 1453362 w 9143998"/>
              <a:gd name="connsiteY137" fmla="*/ 6671759 h 6857998"/>
              <a:gd name="connsiteX138" fmla="*/ 1479553 w 9143998"/>
              <a:gd name="connsiteY138" fmla="*/ 6664344 h 6857998"/>
              <a:gd name="connsiteX139" fmla="*/ 1484474 w 9143998"/>
              <a:gd name="connsiteY139" fmla="*/ 6652736 h 6857998"/>
              <a:gd name="connsiteX140" fmla="*/ 1480981 w 9143998"/>
              <a:gd name="connsiteY140" fmla="*/ 6645160 h 6857998"/>
              <a:gd name="connsiteX141" fmla="*/ 1475268 w 9143998"/>
              <a:gd name="connsiteY141" fmla="*/ 6647578 h 6857998"/>
              <a:gd name="connsiteX142" fmla="*/ 1455584 w 9143998"/>
              <a:gd name="connsiteY142" fmla="*/ 6651286 h 6857998"/>
              <a:gd name="connsiteX143" fmla="*/ 1434155 w 9143998"/>
              <a:gd name="connsiteY143" fmla="*/ 6629845 h 6857998"/>
              <a:gd name="connsiteX144" fmla="*/ 1450027 w 9143998"/>
              <a:gd name="connsiteY144" fmla="*/ 6630812 h 6857998"/>
              <a:gd name="connsiteX145" fmla="*/ 1486855 w 9143998"/>
              <a:gd name="connsiteY145" fmla="*/ 6600021 h 6857998"/>
              <a:gd name="connsiteX146" fmla="*/ 1479553 w 9143998"/>
              <a:gd name="connsiteY146" fmla="*/ 6576323 h 6857998"/>
              <a:gd name="connsiteX147" fmla="*/ 1449234 w 9143998"/>
              <a:gd name="connsiteY147" fmla="*/ 6565683 h 6857998"/>
              <a:gd name="connsiteX148" fmla="*/ 1260323 w 9143998"/>
              <a:gd name="connsiteY148" fmla="*/ 6565683 h 6857998"/>
              <a:gd name="connsiteX149" fmla="*/ 1237358 w 9143998"/>
              <a:gd name="connsiteY149" fmla="*/ 6576435 h 6857998"/>
              <a:gd name="connsiteX150" fmla="*/ 1226589 w 9143998"/>
              <a:gd name="connsiteY150" fmla="*/ 6566967 h 6857998"/>
              <a:gd name="connsiteX151" fmla="*/ 1212176 w 9143998"/>
              <a:gd name="connsiteY151" fmla="*/ 6569374 h 6857998"/>
              <a:gd name="connsiteX152" fmla="*/ 1214077 w 9143998"/>
              <a:gd name="connsiteY152" fmla="*/ 6582373 h 6857998"/>
              <a:gd name="connsiteX153" fmla="*/ 1214077 w 9143998"/>
              <a:gd name="connsiteY153" fmla="*/ 6591841 h 6857998"/>
              <a:gd name="connsiteX154" fmla="*/ 1214077 w 9143998"/>
              <a:gd name="connsiteY154" fmla="*/ 6659561 h 6857998"/>
              <a:gd name="connsiteX155" fmla="*/ 1224847 w 9143998"/>
              <a:gd name="connsiteY155" fmla="*/ 6669831 h 6857998"/>
              <a:gd name="connsiteX156" fmla="*/ 1238150 w 9143998"/>
              <a:gd name="connsiteY156" fmla="*/ 6667103 h 6857998"/>
              <a:gd name="connsiteX157" fmla="*/ 1238150 w 9143998"/>
              <a:gd name="connsiteY157" fmla="*/ 6648649 h 6857998"/>
              <a:gd name="connsiteX158" fmla="*/ 1238150 w 9143998"/>
              <a:gd name="connsiteY158" fmla="*/ 6599383 h 6857998"/>
              <a:gd name="connsiteX159" fmla="*/ 1252404 w 9143998"/>
              <a:gd name="connsiteY159" fmla="*/ 6586866 h 6857998"/>
              <a:gd name="connsiteX160" fmla="*/ 1264599 w 9143998"/>
              <a:gd name="connsiteY160" fmla="*/ 6604518 h 6857998"/>
              <a:gd name="connsiteX161" fmla="*/ 1264599 w 9143998"/>
              <a:gd name="connsiteY161" fmla="*/ 6646402 h 6857998"/>
              <a:gd name="connsiteX162" fmla="*/ 1269033 w 9143998"/>
              <a:gd name="connsiteY162" fmla="*/ 6664696 h 6857998"/>
              <a:gd name="connsiteX163" fmla="*/ 1282179 w 9143998"/>
              <a:gd name="connsiteY163" fmla="*/ 6670152 h 6857998"/>
              <a:gd name="connsiteX164" fmla="*/ 1298966 w 9143998"/>
              <a:gd name="connsiteY164" fmla="*/ 6657796 h 6857998"/>
              <a:gd name="connsiteX165" fmla="*/ 1297699 w 9143998"/>
              <a:gd name="connsiteY165" fmla="*/ 6652340 h 6857998"/>
              <a:gd name="connsiteX166" fmla="*/ 1294532 w 9143998"/>
              <a:gd name="connsiteY166" fmla="*/ 6652340 h 6857998"/>
              <a:gd name="connsiteX167" fmla="*/ 1290098 w 9143998"/>
              <a:gd name="connsiteY167" fmla="*/ 6651377 h 6857998"/>
              <a:gd name="connsiteX168" fmla="*/ 1288672 w 9143998"/>
              <a:gd name="connsiteY168" fmla="*/ 6643674 h 6857998"/>
              <a:gd name="connsiteX169" fmla="*/ 1288672 w 9143998"/>
              <a:gd name="connsiteY169" fmla="*/ 6609814 h 6857998"/>
              <a:gd name="connsiteX170" fmla="*/ 1260323 w 9143998"/>
              <a:gd name="connsiteY170" fmla="*/ 6565683 h 6857998"/>
              <a:gd name="connsiteX171" fmla="*/ 1143227 w 9143998"/>
              <a:gd name="connsiteY171" fmla="*/ 6565683 h 6857998"/>
              <a:gd name="connsiteX172" fmla="*/ 1119118 w 9143998"/>
              <a:gd name="connsiteY172" fmla="*/ 6575577 h 6857998"/>
              <a:gd name="connsiteX173" fmla="*/ 1106261 w 9143998"/>
              <a:gd name="connsiteY173" fmla="*/ 6616288 h 6857998"/>
              <a:gd name="connsiteX174" fmla="*/ 1119279 w 9143998"/>
              <a:gd name="connsiteY174" fmla="*/ 6662676 h 6857998"/>
              <a:gd name="connsiteX175" fmla="*/ 1140494 w 9143998"/>
              <a:gd name="connsiteY175" fmla="*/ 6671759 h 6857998"/>
              <a:gd name="connsiteX176" fmla="*/ 1164281 w 9143998"/>
              <a:gd name="connsiteY176" fmla="*/ 6659108 h 6857998"/>
              <a:gd name="connsiteX177" fmla="*/ 1167817 w 9143998"/>
              <a:gd name="connsiteY177" fmla="*/ 6665920 h 6857998"/>
              <a:gd name="connsiteX178" fmla="*/ 1180835 w 9143998"/>
              <a:gd name="connsiteY178" fmla="*/ 6671597 h 6857998"/>
              <a:gd name="connsiteX179" fmla="*/ 1197711 w 9143998"/>
              <a:gd name="connsiteY179" fmla="*/ 6659108 h 6857998"/>
              <a:gd name="connsiteX180" fmla="*/ 1196586 w 9143998"/>
              <a:gd name="connsiteY180" fmla="*/ 6653593 h 6857998"/>
              <a:gd name="connsiteX181" fmla="*/ 1193211 w 9143998"/>
              <a:gd name="connsiteY181" fmla="*/ 6653593 h 6857998"/>
              <a:gd name="connsiteX182" fmla="*/ 1188871 w 9143998"/>
              <a:gd name="connsiteY182" fmla="*/ 6652620 h 6857998"/>
              <a:gd name="connsiteX183" fmla="*/ 1187264 w 9143998"/>
              <a:gd name="connsiteY183" fmla="*/ 6644835 h 6857998"/>
              <a:gd name="connsiteX184" fmla="*/ 1187425 w 9143998"/>
              <a:gd name="connsiteY184" fmla="*/ 6567954 h 6857998"/>
              <a:gd name="connsiteX185" fmla="*/ 1174889 w 9143998"/>
              <a:gd name="connsiteY185" fmla="*/ 6567954 h 6857998"/>
              <a:gd name="connsiteX186" fmla="*/ 1164603 w 9143998"/>
              <a:gd name="connsiteY186" fmla="*/ 6576875 h 6857998"/>
              <a:gd name="connsiteX187" fmla="*/ 1143227 w 9143998"/>
              <a:gd name="connsiteY187" fmla="*/ 6565683 h 6857998"/>
              <a:gd name="connsiteX188" fmla="*/ 1918499 w 9143998"/>
              <a:gd name="connsiteY188" fmla="*/ 6544789 h 6857998"/>
              <a:gd name="connsiteX189" fmla="*/ 1903279 w 9143998"/>
              <a:gd name="connsiteY189" fmla="*/ 6547225 h 6857998"/>
              <a:gd name="connsiteX190" fmla="*/ 1905202 w 9143998"/>
              <a:gd name="connsiteY190" fmla="*/ 6558428 h 6857998"/>
              <a:gd name="connsiteX191" fmla="*/ 1905202 w 9143998"/>
              <a:gd name="connsiteY191" fmla="*/ 6641234 h 6857998"/>
              <a:gd name="connsiteX192" fmla="*/ 1930194 w 9143998"/>
              <a:gd name="connsiteY192" fmla="*/ 6671759 h 6857998"/>
              <a:gd name="connsiteX193" fmla="*/ 1951982 w 9143998"/>
              <a:gd name="connsiteY193" fmla="*/ 6655198 h 6857998"/>
              <a:gd name="connsiteX194" fmla="*/ 1948457 w 9143998"/>
              <a:gd name="connsiteY194" fmla="*/ 6647242 h 6857998"/>
              <a:gd name="connsiteX195" fmla="*/ 1944452 w 9143998"/>
              <a:gd name="connsiteY195" fmla="*/ 6649028 h 6857998"/>
              <a:gd name="connsiteX196" fmla="*/ 1937083 w 9143998"/>
              <a:gd name="connsiteY196" fmla="*/ 6650652 h 6857998"/>
              <a:gd name="connsiteX197" fmla="*/ 1929553 w 9143998"/>
              <a:gd name="connsiteY197" fmla="*/ 6639124 h 6857998"/>
              <a:gd name="connsiteX198" fmla="*/ 1929553 w 9143998"/>
              <a:gd name="connsiteY198" fmla="*/ 6588628 h 6857998"/>
              <a:gd name="connsiteX199" fmla="*/ 1942049 w 9143998"/>
              <a:gd name="connsiteY199" fmla="*/ 6588628 h 6857998"/>
              <a:gd name="connsiteX200" fmla="*/ 1951822 w 9143998"/>
              <a:gd name="connsiteY200" fmla="*/ 6576126 h 6857998"/>
              <a:gd name="connsiteX201" fmla="*/ 1949098 w 9143998"/>
              <a:gd name="connsiteY201" fmla="*/ 6568170 h 6857998"/>
              <a:gd name="connsiteX202" fmla="*/ 1929713 w 9143998"/>
              <a:gd name="connsiteY202" fmla="*/ 6568170 h 6857998"/>
              <a:gd name="connsiteX203" fmla="*/ 1929713 w 9143998"/>
              <a:gd name="connsiteY203" fmla="*/ 6555018 h 6857998"/>
              <a:gd name="connsiteX204" fmla="*/ 1918499 w 9143998"/>
              <a:gd name="connsiteY204" fmla="*/ 6544789 h 6857998"/>
              <a:gd name="connsiteX205" fmla="*/ 2066345 w 9143998"/>
              <a:gd name="connsiteY205" fmla="*/ 6525502 h 6857998"/>
              <a:gd name="connsiteX206" fmla="*/ 2051142 w 9143998"/>
              <a:gd name="connsiteY206" fmla="*/ 6527921 h 6857998"/>
              <a:gd name="connsiteX207" fmla="*/ 2053223 w 9143998"/>
              <a:gd name="connsiteY207" fmla="*/ 6540983 h 6857998"/>
              <a:gd name="connsiteX208" fmla="*/ 2053223 w 9143998"/>
              <a:gd name="connsiteY208" fmla="*/ 6647894 h 6857998"/>
              <a:gd name="connsiteX209" fmla="*/ 2057703 w 9143998"/>
              <a:gd name="connsiteY209" fmla="*/ 6666277 h 6857998"/>
              <a:gd name="connsiteX210" fmla="*/ 2071145 w 9143998"/>
              <a:gd name="connsiteY210" fmla="*/ 6671759 h 6857998"/>
              <a:gd name="connsiteX211" fmla="*/ 2088108 w 9143998"/>
              <a:gd name="connsiteY211" fmla="*/ 6659343 h 6857998"/>
              <a:gd name="connsiteX212" fmla="*/ 2086988 w 9143998"/>
              <a:gd name="connsiteY212" fmla="*/ 6653860 h 6857998"/>
              <a:gd name="connsiteX213" fmla="*/ 2083628 w 9143998"/>
              <a:gd name="connsiteY213" fmla="*/ 6653860 h 6857998"/>
              <a:gd name="connsiteX214" fmla="*/ 2079147 w 9143998"/>
              <a:gd name="connsiteY214" fmla="*/ 6652893 h 6857998"/>
              <a:gd name="connsiteX215" fmla="*/ 2077707 w 9143998"/>
              <a:gd name="connsiteY215" fmla="*/ 6645152 h 6857998"/>
              <a:gd name="connsiteX216" fmla="*/ 2077707 w 9143998"/>
              <a:gd name="connsiteY216" fmla="*/ 6535822 h 6857998"/>
              <a:gd name="connsiteX217" fmla="*/ 2077226 w 9143998"/>
              <a:gd name="connsiteY217" fmla="*/ 6531952 h 6857998"/>
              <a:gd name="connsiteX218" fmla="*/ 2066345 w 9143998"/>
              <a:gd name="connsiteY218" fmla="*/ 6525502 h 6857998"/>
              <a:gd name="connsiteX219" fmla="*/ 1380115 w 9143998"/>
              <a:gd name="connsiteY219" fmla="*/ 6525502 h 6857998"/>
              <a:gd name="connsiteX220" fmla="*/ 1365259 w 9143998"/>
              <a:gd name="connsiteY220" fmla="*/ 6527916 h 6857998"/>
              <a:gd name="connsiteX221" fmla="*/ 1367219 w 9143998"/>
              <a:gd name="connsiteY221" fmla="*/ 6541109 h 6857998"/>
              <a:gd name="connsiteX222" fmla="*/ 1367219 w 9143998"/>
              <a:gd name="connsiteY222" fmla="*/ 6576024 h 6857998"/>
              <a:gd name="connsiteX223" fmla="*/ 1346486 w 9143998"/>
              <a:gd name="connsiteY223" fmla="*/ 6566531 h 6857998"/>
              <a:gd name="connsiteX224" fmla="*/ 1321997 w 9143998"/>
              <a:gd name="connsiteY224" fmla="*/ 6576346 h 6857998"/>
              <a:gd name="connsiteX225" fmla="*/ 1308773 w 9143998"/>
              <a:gd name="connsiteY225" fmla="*/ 6616732 h 6857998"/>
              <a:gd name="connsiteX226" fmla="*/ 1322159 w 9143998"/>
              <a:gd name="connsiteY226" fmla="*/ 6662588 h 6857998"/>
              <a:gd name="connsiteX227" fmla="*/ 1343546 w 9143998"/>
              <a:gd name="connsiteY227" fmla="*/ 6671759 h 6857998"/>
              <a:gd name="connsiteX228" fmla="*/ 1367707 w 9143998"/>
              <a:gd name="connsiteY228" fmla="*/ 6659048 h 6857998"/>
              <a:gd name="connsiteX229" fmla="*/ 1371463 w 9143998"/>
              <a:gd name="connsiteY229" fmla="*/ 6665967 h 6857998"/>
              <a:gd name="connsiteX230" fmla="*/ 1384686 w 9143998"/>
              <a:gd name="connsiteY230" fmla="*/ 6671437 h 6857998"/>
              <a:gd name="connsiteX231" fmla="*/ 1401828 w 9143998"/>
              <a:gd name="connsiteY231" fmla="*/ 6659048 h 6857998"/>
              <a:gd name="connsiteX232" fmla="*/ 1400684 w 9143998"/>
              <a:gd name="connsiteY232" fmla="*/ 6653578 h 6857998"/>
              <a:gd name="connsiteX233" fmla="*/ 1397257 w 9143998"/>
              <a:gd name="connsiteY233" fmla="*/ 6653578 h 6857998"/>
              <a:gd name="connsiteX234" fmla="*/ 1392849 w 9143998"/>
              <a:gd name="connsiteY234" fmla="*/ 6652612 h 6857998"/>
              <a:gd name="connsiteX235" fmla="*/ 1391217 w 9143998"/>
              <a:gd name="connsiteY235" fmla="*/ 6644889 h 6857998"/>
              <a:gd name="connsiteX236" fmla="*/ 1391217 w 9143998"/>
              <a:gd name="connsiteY236" fmla="*/ 6535639 h 6857998"/>
              <a:gd name="connsiteX237" fmla="*/ 1380115 w 9143998"/>
              <a:gd name="connsiteY237" fmla="*/ 6525502 h 6857998"/>
              <a:gd name="connsiteX238" fmla="*/ 939592 w 9143998"/>
              <a:gd name="connsiteY238" fmla="*/ 6525502 h 6857998"/>
              <a:gd name="connsiteX239" fmla="*/ 882857 w 9143998"/>
              <a:gd name="connsiteY239" fmla="*/ 6580222 h 6857998"/>
              <a:gd name="connsiteX240" fmla="*/ 891858 w 9143998"/>
              <a:gd name="connsiteY240" fmla="*/ 6658901 h 6857998"/>
              <a:gd name="connsiteX241" fmla="*/ 948592 w 9143998"/>
              <a:gd name="connsiteY241" fmla="*/ 6604020 h 6857998"/>
              <a:gd name="connsiteX242" fmla="*/ 939592 w 9143998"/>
              <a:gd name="connsiteY242" fmla="*/ 6525502 h 6857998"/>
              <a:gd name="connsiteX243" fmla="*/ 1093886 w 9143998"/>
              <a:gd name="connsiteY243" fmla="*/ 6523895 h 6857998"/>
              <a:gd name="connsiteX244" fmla="*/ 1080224 w 9143998"/>
              <a:gd name="connsiteY244" fmla="*/ 6525671 h 6857998"/>
              <a:gd name="connsiteX245" fmla="*/ 1063510 w 9143998"/>
              <a:gd name="connsiteY245" fmla="*/ 6597024 h 6857998"/>
              <a:gd name="connsiteX246" fmla="*/ 1055313 w 9143998"/>
              <a:gd name="connsiteY246" fmla="*/ 6636736 h 6857998"/>
              <a:gd name="connsiteX247" fmla="*/ 1047116 w 9143998"/>
              <a:gd name="connsiteY247" fmla="*/ 6596701 h 6857998"/>
              <a:gd name="connsiteX248" fmla="*/ 1032811 w 9143998"/>
              <a:gd name="connsiteY248" fmla="*/ 6535357 h 6857998"/>
              <a:gd name="connsiteX249" fmla="*/ 1019472 w 9143998"/>
              <a:gd name="connsiteY249" fmla="*/ 6524218 h 6857998"/>
              <a:gd name="connsiteX250" fmla="*/ 1001632 w 9143998"/>
              <a:gd name="connsiteY250" fmla="*/ 6529868 h 6857998"/>
              <a:gd name="connsiteX251" fmla="*/ 1007418 w 9143998"/>
              <a:gd name="connsiteY251" fmla="*/ 6543267 h 6857998"/>
              <a:gd name="connsiteX252" fmla="*/ 1037151 w 9143998"/>
              <a:gd name="connsiteY252" fmla="*/ 6657238 h 6857998"/>
              <a:gd name="connsiteX253" fmla="*/ 1049688 w 9143998"/>
              <a:gd name="connsiteY253" fmla="*/ 6670152 h 6857998"/>
              <a:gd name="connsiteX254" fmla="*/ 1069777 w 9143998"/>
              <a:gd name="connsiteY254" fmla="*/ 6666278 h 6857998"/>
              <a:gd name="connsiteX255" fmla="*/ 1103529 w 9143998"/>
              <a:gd name="connsiteY255" fmla="*/ 6536971 h 6857998"/>
              <a:gd name="connsiteX256" fmla="*/ 1093886 w 9143998"/>
              <a:gd name="connsiteY256" fmla="*/ 6523895 h 6857998"/>
              <a:gd name="connsiteX257" fmla="*/ 751551 w 9143998"/>
              <a:gd name="connsiteY257" fmla="*/ 6511583 h 6857998"/>
              <a:gd name="connsiteX258" fmla="*/ 773932 w 9143998"/>
              <a:gd name="connsiteY258" fmla="*/ 6572221 h 6857998"/>
              <a:gd name="connsiteX259" fmla="*/ 835440 w 9143998"/>
              <a:gd name="connsiteY259" fmla="*/ 6591017 h 6857998"/>
              <a:gd name="connsiteX260" fmla="*/ 813059 w 9143998"/>
              <a:gd name="connsiteY260" fmla="*/ 6530215 h 6857998"/>
              <a:gd name="connsiteX261" fmla="*/ 751551 w 9143998"/>
              <a:gd name="connsiteY261" fmla="*/ 6511583 h 6857998"/>
              <a:gd name="connsiteX262" fmla="*/ 883972 w 9143998"/>
              <a:gd name="connsiteY262" fmla="*/ 6454785 h 6857998"/>
              <a:gd name="connsiteX263" fmla="*/ 848586 w 9143998"/>
              <a:gd name="connsiteY263" fmla="*/ 6499127 h 6857998"/>
              <a:gd name="connsiteX264" fmla="*/ 862135 w 9143998"/>
              <a:gd name="connsiteY264" fmla="*/ 6554432 h 6857998"/>
              <a:gd name="connsiteX265" fmla="*/ 897520 w 9143998"/>
              <a:gd name="connsiteY265" fmla="*/ 6510091 h 6857998"/>
              <a:gd name="connsiteX266" fmla="*/ 883972 w 9143998"/>
              <a:gd name="connsiteY266" fmla="*/ 6454785 h 6857998"/>
              <a:gd name="connsiteX267" fmla="*/ 0 w 9143998"/>
              <a:gd name="connsiteY267" fmla="*/ 0 h 6857998"/>
              <a:gd name="connsiteX268" fmla="*/ 9143998 w 9143998"/>
              <a:gd name="connsiteY268" fmla="*/ 0 h 6857998"/>
              <a:gd name="connsiteX269" fmla="*/ 9143998 w 9143998"/>
              <a:gd name="connsiteY269" fmla="*/ 6857998 h 6857998"/>
              <a:gd name="connsiteX270" fmla="*/ 0 w 9143998"/>
              <a:gd name="connsiteY270"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Lst>
            <a:rect l="l" t="t" r="r" b="b"/>
            <a:pathLst>
              <a:path w="9143998" h="6857998">
                <a:moveTo>
                  <a:pt x="797599" y="6612261"/>
                </a:moveTo>
                <a:cubicBezTo>
                  <a:pt x="782208" y="6609243"/>
                  <a:pt x="766376" y="6609806"/>
                  <a:pt x="751385" y="6613749"/>
                </a:cubicBezTo>
                <a:cubicBezTo>
                  <a:pt x="750905" y="6645133"/>
                  <a:pt x="764532" y="6676034"/>
                  <a:pt x="790986" y="6696796"/>
                </a:cubicBezTo>
                <a:cubicBezTo>
                  <a:pt x="817279" y="6717557"/>
                  <a:pt x="850627" y="6723190"/>
                  <a:pt x="880768" y="6715304"/>
                </a:cubicBezTo>
                <a:cubicBezTo>
                  <a:pt x="881089" y="6684081"/>
                  <a:pt x="867461" y="6653019"/>
                  <a:pt x="841168" y="6632258"/>
                </a:cubicBezTo>
                <a:cubicBezTo>
                  <a:pt x="827941" y="6621877"/>
                  <a:pt x="812990" y="6615278"/>
                  <a:pt x="797599" y="6612261"/>
                </a:cubicBezTo>
                <a:close/>
                <a:moveTo>
                  <a:pt x="1782094" y="6586577"/>
                </a:moveTo>
                <a:cubicBezTo>
                  <a:pt x="1795786" y="6586577"/>
                  <a:pt x="1798811" y="6604559"/>
                  <a:pt x="1798811" y="6618563"/>
                </a:cubicBezTo>
                <a:cubicBezTo>
                  <a:pt x="1798811" y="6632884"/>
                  <a:pt x="1795786" y="6650866"/>
                  <a:pt x="1782094" y="6650866"/>
                </a:cubicBezTo>
                <a:cubicBezTo>
                  <a:pt x="1768402" y="6650866"/>
                  <a:pt x="1765059" y="6632884"/>
                  <a:pt x="1765059" y="6618563"/>
                </a:cubicBezTo>
                <a:cubicBezTo>
                  <a:pt x="1765059" y="6604559"/>
                  <a:pt x="1768402" y="6586577"/>
                  <a:pt x="1782094" y="6586577"/>
                </a:cubicBezTo>
                <a:close/>
                <a:moveTo>
                  <a:pt x="1684054" y="6586577"/>
                </a:moveTo>
                <a:cubicBezTo>
                  <a:pt x="1697746" y="6586577"/>
                  <a:pt x="1700771" y="6604559"/>
                  <a:pt x="1700771" y="6618563"/>
                </a:cubicBezTo>
                <a:cubicBezTo>
                  <a:pt x="1700771" y="6632884"/>
                  <a:pt x="1697746" y="6650866"/>
                  <a:pt x="1684054" y="6650866"/>
                </a:cubicBezTo>
                <a:cubicBezTo>
                  <a:pt x="1670203" y="6650866"/>
                  <a:pt x="1667019" y="6632884"/>
                  <a:pt x="1667019" y="6618563"/>
                </a:cubicBezTo>
                <a:cubicBezTo>
                  <a:pt x="1667019" y="6604559"/>
                  <a:pt x="1670203" y="6586577"/>
                  <a:pt x="1684054" y="6586577"/>
                </a:cubicBezTo>
                <a:close/>
                <a:moveTo>
                  <a:pt x="1350557" y="6586577"/>
                </a:moveTo>
                <a:cubicBezTo>
                  <a:pt x="1354737" y="6586577"/>
                  <a:pt x="1357790" y="6587873"/>
                  <a:pt x="1360363" y="6590464"/>
                </a:cubicBezTo>
                <a:cubicBezTo>
                  <a:pt x="1365826" y="6596455"/>
                  <a:pt x="1366470" y="6608925"/>
                  <a:pt x="1366308" y="6618479"/>
                </a:cubicBezTo>
                <a:cubicBezTo>
                  <a:pt x="1366308" y="6621556"/>
                  <a:pt x="1366308" y="6621556"/>
                  <a:pt x="1366308" y="6621556"/>
                </a:cubicBezTo>
                <a:cubicBezTo>
                  <a:pt x="1365987" y="6634511"/>
                  <a:pt x="1362773" y="6650866"/>
                  <a:pt x="1350397" y="6650866"/>
                </a:cubicBezTo>
                <a:cubicBezTo>
                  <a:pt x="1346861" y="6650866"/>
                  <a:pt x="1343968" y="6649571"/>
                  <a:pt x="1341557" y="6646980"/>
                </a:cubicBezTo>
                <a:cubicBezTo>
                  <a:pt x="1334968" y="6639855"/>
                  <a:pt x="1334325" y="6624471"/>
                  <a:pt x="1334325" y="6618479"/>
                </a:cubicBezTo>
                <a:cubicBezTo>
                  <a:pt x="1334325" y="6604228"/>
                  <a:pt x="1337218" y="6586577"/>
                  <a:pt x="1350557" y="6586577"/>
                </a:cubicBezTo>
                <a:close/>
                <a:moveTo>
                  <a:pt x="1148209" y="6586577"/>
                </a:moveTo>
                <a:cubicBezTo>
                  <a:pt x="1152227" y="6586577"/>
                  <a:pt x="1155441" y="6587873"/>
                  <a:pt x="1157852" y="6590464"/>
                </a:cubicBezTo>
                <a:cubicBezTo>
                  <a:pt x="1163316" y="6596293"/>
                  <a:pt x="1163959" y="6608763"/>
                  <a:pt x="1163959" y="6618317"/>
                </a:cubicBezTo>
                <a:cubicBezTo>
                  <a:pt x="1163959" y="6621394"/>
                  <a:pt x="1163959" y="6621394"/>
                  <a:pt x="1163959" y="6621394"/>
                </a:cubicBezTo>
                <a:cubicBezTo>
                  <a:pt x="1163477" y="6634511"/>
                  <a:pt x="1160423" y="6650866"/>
                  <a:pt x="1148048" y="6650866"/>
                </a:cubicBezTo>
                <a:cubicBezTo>
                  <a:pt x="1144512" y="6650866"/>
                  <a:pt x="1141619" y="6649571"/>
                  <a:pt x="1139208" y="6646980"/>
                </a:cubicBezTo>
                <a:cubicBezTo>
                  <a:pt x="1132458" y="6639693"/>
                  <a:pt x="1131815" y="6624309"/>
                  <a:pt x="1131815" y="6618317"/>
                </a:cubicBezTo>
                <a:cubicBezTo>
                  <a:pt x="1131976" y="6604228"/>
                  <a:pt x="1134869" y="6586577"/>
                  <a:pt x="1148209" y="6586577"/>
                </a:cubicBezTo>
                <a:close/>
                <a:moveTo>
                  <a:pt x="2139040" y="6583362"/>
                </a:moveTo>
                <a:cubicBezTo>
                  <a:pt x="2143494" y="6583362"/>
                  <a:pt x="2146833" y="6584695"/>
                  <a:pt x="2149060" y="6587193"/>
                </a:cubicBezTo>
                <a:cubicBezTo>
                  <a:pt x="2151446" y="6589858"/>
                  <a:pt x="2152400" y="6594521"/>
                  <a:pt x="2152241" y="6599518"/>
                </a:cubicBezTo>
                <a:cubicBezTo>
                  <a:pt x="2152082" y="6610010"/>
                  <a:pt x="2147470" y="6615340"/>
                  <a:pt x="2136495" y="6615340"/>
                </a:cubicBezTo>
                <a:cubicBezTo>
                  <a:pt x="2131088" y="6615506"/>
                  <a:pt x="2128225" y="6615340"/>
                  <a:pt x="2121863" y="6614674"/>
                </a:cubicBezTo>
                <a:cubicBezTo>
                  <a:pt x="2122340" y="6594188"/>
                  <a:pt x="2127748" y="6583362"/>
                  <a:pt x="2139040" y="6583362"/>
                </a:cubicBezTo>
                <a:close/>
                <a:moveTo>
                  <a:pt x="2001721" y="6583362"/>
                </a:moveTo>
                <a:cubicBezTo>
                  <a:pt x="2006409" y="6583362"/>
                  <a:pt x="2009924" y="6584695"/>
                  <a:pt x="2012268" y="6587193"/>
                </a:cubicBezTo>
                <a:cubicBezTo>
                  <a:pt x="2014612" y="6589858"/>
                  <a:pt x="2015784" y="6594521"/>
                  <a:pt x="2015617" y="6599518"/>
                </a:cubicBezTo>
                <a:cubicBezTo>
                  <a:pt x="2015449" y="6610010"/>
                  <a:pt x="2010427" y="6615340"/>
                  <a:pt x="1999042" y="6615340"/>
                </a:cubicBezTo>
                <a:cubicBezTo>
                  <a:pt x="1993183" y="6615506"/>
                  <a:pt x="1990169" y="6615340"/>
                  <a:pt x="1983641" y="6614674"/>
                </a:cubicBezTo>
                <a:cubicBezTo>
                  <a:pt x="1984142" y="6594188"/>
                  <a:pt x="1989668" y="6583362"/>
                  <a:pt x="2001721" y="6583362"/>
                </a:cubicBezTo>
                <a:close/>
                <a:moveTo>
                  <a:pt x="1451153" y="6583362"/>
                </a:moveTo>
                <a:cubicBezTo>
                  <a:pt x="1455606" y="6583362"/>
                  <a:pt x="1458946" y="6584695"/>
                  <a:pt x="1461173" y="6587193"/>
                </a:cubicBezTo>
                <a:cubicBezTo>
                  <a:pt x="1463399" y="6589858"/>
                  <a:pt x="1464512" y="6594521"/>
                  <a:pt x="1464354" y="6599518"/>
                </a:cubicBezTo>
                <a:cubicBezTo>
                  <a:pt x="1464195" y="6610010"/>
                  <a:pt x="1459583" y="6615340"/>
                  <a:pt x="1448608" y="6615340"/>
                </a:cubicBezTo>
                <a:cubicBezTo>
                  <a:pt x="1443200" y="6615506"/>
                  <a:pt x="1440337" y="6615340"/>
                  <a:pt x="1433976" y="6614674"/>
                </a:cubicBezTo>
                <a:cubicBezTo>
                  <a:pt x="1434453" y="6594188"/>
                  <a:pt x="1439861" y="6583362"/>
                  <a:pt x="1451153" y="6583362"/>
                </a:cubicBezTo>
                <a:close/>
                <a:moveTo>
                  <a:pt x="1547995" y="6567290"/>
                </a:moveTo>
                <a:cubicBezTo>
                  <a:pt x="1539921" y="6567290"/>
                  <a:pt x="1532491" y="6570958"/>
                  <a:pt x="1525708" y="6577975"/>
                </a:cubicBezTo>
                <a:cubicBezTo>
                  <a:pt x="1525708" y="6577656"/>
                  <a:pt x="1525708" y="6577656"/>
                  <a:pt x="1525708" y="6577656"/>
                </a:cubicBezTo>
                <a:cubicBezTo>
                  <a:pt x="1525708" y="6570161"/>
                  <a:pt x="1521187" y="6567609"/>
                  <a:pt x="1514726" y="6567609"/>
                </a:cubicBezTo>
                <a:cubicBezTo>
                  <a:pt x="1509235" y="6567609"/>
                  <a:pt x="1502613" y="6568566"/>
                  <a:pt x="1499868" y="6570001"/>
                </a:cubicBezTo>
                <a:cubicBezTo>
                  <a:pt x="1501321" y="6572553"/>
                  <a:pt x="1501806" y="6576859"/>
                  <a:pt x="1501806" y="6581165"/>
                </a:cubicBezTo>
                <a:cubicBezTo>
                  <a:pt x="1501806" y="6659786"/>
                  <a:pt x="1501806" y="6659786"/>
                  <a:pt x="1501806" y="6659786"/>
                </a:cubicBezTo>
                <a:cubicBezTo>
                  <a:pt x="1501806" y="6667282"/>
                  <a:pt x="1506490" y="6669833"/>
                  <a:pt x="1512949" y="6669833"/>
                </a:cubicBezTo>
                <a:cubicBezTo>
                  <a:pt x="1518440" y="6669833"/>
                  <a:pt x="1523770" y="6668717"/>
                  <a:pt x="1526354" y="6667282"/>
                </a:cubicBezTo>
                <a:cubicBezTo>
                  <a:pt x="1526354" y="6600621"/>
                  <a:pt x="1526354" y="6600621"/>
                  <a:pt x="1526354" y="6600621"/>
                </a:cubicBezTo>
                <a:cubicBezTo>
                  <a:pt x="1527808" y="6595358"/>
                  <a:pt x="1531683" y="6588182"/>
                  <a:pt x="1538951" y="6588182"/>
                </a:cubicBezTo>
                <a:cubicBezTo>
                  <a:pt x="1541858" y="6588182"/>
                  <a:pt x="1544280" y="6589138"/>
                  <a:pt x="1546057" y="6591052"/>
                </a:cubicBezTo>
                <a:cubicBezTo>
                  <a:pt x="1548641" y="6593923"/>
                  <a:pt x="1550095" y="6598866"/>
                  <a:pt x="1550095" y="6605564"/>
                </a:cubicBezTo>
                <a:cubicBezTo>
                  <a:pt x="1550095" y="6659786"/>
                  <a:pt x="1550095" y="6659786"/>
                  <a:pt x="1550095" y="6659786"/>
                </a:cubicBezTo>
                <a:cubicBezTo>
                  <a:pt x="1550095" y="6667282"/>
                  <a:pt x="1554778" y="6669833"/>
                  <a:pt x="1561238" y="6669833"/>
                </a:cubicBezTo>
                <a:cubicBezTo>
                  <a:pt x="1566891" y="6669833"/>
                  <a:pt x="1572058" y="6668717"/>
                  <a:pt x="1574804" y="6667282"/>
                </a:cubicBezTo>
                <a:cubicBezTo>
                  <a:pt x="1574804" y="6600621"/>
                  <a:pt x="1574804" y="6600621"/>
                  <a:pt x="1574804" y="6600621"/>
                </a:cubicBezTo>
                <a:cubicBezTo>
                  <a:pt x="1576257" y="6595358"/>
                  <a:pt x="1580133" y="6588182"/>
                  <a:pt x="1587401" y="6588182"/>
                </a:cubicBezTo>
                <a:cubicBezTo>
                  <a:pt x="1590308" y="6588182"/>
                  <a:pt x="1592730" y="6589138"/>
                  <a:pt x="1594507" y="6591052"/>
                </a:cubicBezTo>
                <a:cubicBezTo>
                  <a:pt x="1597091" y="6593923"/>
                  <a:pt x="1598545" y="6598866"/>
                  <a:pt x="1598383" y="6605564"/>
                </a:cubicBezTo>
                <a:cubicBezTo>
                  <a:pt x="1598383" y="6646550"/>
                  <a:pt x="1598383" y="6646550"/>
                  <a:pt x="1598383" y="6646550"/>
                </a:cubicBezTo>
                <a:cubicBezTo>
                  <a:pt x="1598383" y="6655002"/>
                  <a:pt x="1599836" y="6660903"/>
                  <a:pt x="1602905" y="6664730"/>
                </a:cubicBezTo>
                <a:cubicBezTo>
                  <a:pt x="1605812" y="6668398"/>
                  <a:pt x="1610334" y="6670152"/>
                  <a:pt x="1616309" y="6670152"/>
                </a:cubicBezTo>
                <a:cubicBezTo>
                  <a:pt x="1627130" y="6670152"/>
                  <a:pt x="1633267" y="6666325"/>
                  <a:pt x="1633267" y="6657873"/>
                </a:cubicBezTo>
                <a:cubicBezTo>
                  <a:pt x="1633267" y="6655959"/>
                  <a:pt x="1632621" y="6653248"/>
                  <a:pt x="1632137" y="6652450"/>
                </a:cubicBezTo>
                <a:cubicBezTo>
                  <a:pt x="1628746" y="6652450"/>
                  <a:pt x="1628746" y="6652450"/>
                  <a:pt x="1628746" y="6652450"/>
                </a:cubicBezTo>
                <a:cubicBezTo>
                  <a:pt x="1626484" y="6652450"/>
                  <a:pt x="1625192" y="6652291"/>
                  <a:pt x="1624385" y="6651494"/>
                </a:cubicBezTo>
                <a:cubicBezTo>
                  <a:pt x="1623254" y="6650377"/>
                  <a:pt x="1622769" y="6647985"/>
                  <a:pt x="1622769" y="6643839"/>
                </a:cubicBezTo>
                <a:cubicBezTo>
                  <a:pt x="1622769" y="6607638"/>
                  <a:pt x="1622769" y="6607638"/>
                  <a:pt x="1622769" y="6607638"/>
                </a:cubicBezTo>
                <a:cubicBezTo>
                  <a:pt x="1622769" y="6588820"/>
                  <a:pt x="1619378" y="6567290"/>
                  <a:pt x="1593054" y="6567290"/>
                </a:cubicBezTo>
                <a:cubicBezTo>
                  <a:pt x="1584332" y="6567290"/>
                  <a:pt x="1574804" y="6571118"/>
                  <a:pt x="1568505" y="6577975"/>
                </a:cubicBezTo>
                <a:cubicBezTo>
                  <a:pt x="1563984" y="6570799"/>
                  <a:pt x="1557362" y="6567290"/>
                  <a:pt x="1547995" y="6567290"/>
                </a:cubicBezTo>
                <a:close/>
                <a:moveTo>
                  <a:pt x="2137122" y="6565683"/>
                </a:moveTo>
                <a:cubicBezTo>
                  <a:pt x="2112518" y="6565683"/>
                  <a:pt x="2098708" y="6583578"/>
                  <a:pt x="2098073" y="6615819"/>
                </a:cubicBezTo>
                <a:cubicBezTo>
                  <a:pt x="2097755" y="6635487"/>
                  <a:pt x="2102041" y="6650157"/>
                  <a:pt x="2110613" y="6659669"/>
                </a:cubicBezTo>
                <a:cubicBezTo>
                  <a:pt x="2117915" y="6667729"/>
                  <a:pt x="2128233" y="6671759"/>
                  <a:pt x="2141249" y="6671759"/>
                </a:cubicBezTo>
                <a:cubicBezTo>
                  <a:pt x="2151726" y="6671759"/>
                  <a:pt x="2161885" y="6669019"/>
                  <a:pt x="2167441" y="6664344"/>
                </a:cubicBezTo>
                <a:cubicBezTo>
                  <a:pt x="2171568" y="6661119"/>
                  <a:pt x="2172679" y="6657250"/>
                  <a:pt x="2172361" y="6652736"/>
                </a:cubicBezTo>
                <a:cubicBezTo>
                  <a:pt x="2172044" y="6649029"/>
                  <a:pt x="2168869" y="6645160"/>
                  <a:pt x="2168869" y="6645160"/>
                </a:cubicBezTo>
                <a:cubicBezTo>
                  <a:pt x="2168869" y="6645160"/>
                  <a:pt x="2166012" y="6646611"/>
                  <a:pt x="2163155" y="6647578"/>
                </a:cubicBezTo>
                <a:cubicBezTo>
                  <a:pt x="2157916" y="6649190"/>
                  <a:pt x="2150773" y="6651286"/>
                  <a:pt x="2143471" y="6651286"/>
                </a:cubicBezTo>
                <a:cubicBezTo>
                  <a:pt x="2131249" y="6651286"/>
                  <a:pt x="2124105" y="6643548"/>
                  <a:pt x="2122042" y="6629845"/>
                </a:cubicBezTo>
                <a:cubicBezTo>
                  <a:pt x="2127756" y="6630651"/>
                  <a:pt x="2132518" y="6630812"/>
                  <a:pt x="2137915" y="6630812"/>
                </a:cubicBezTo>
                <a:cubicBezTo>
                  <a:pt x="2159186" y="6630812"/>
                  <a:pt x="2174107" y="6619850"/>
                  <a:pt x="2174742" y="6600021"/>
                </a:cubicBezTo>
                <a:cubicBezTo>
                  <a:pt x="2174901" y="6590348"/>
                  <a:pt x="2172996" y="6582449"/>
                  <a:pt x="2167441" y="6576323"/>
                </a:cubicBezTo>
                <a:cubicBezTo>
                  <a:pt x="2160932" y="6569069"/>
                  <a:pt x="2150456" y="6565683"/>
                  <a:pt x="2137122" y="6565683"/>
                </a:cubicBezTo>
                <a:close/>
                <a:moveTo>
                  <a:pt x="1999798" y="6565683"/>
                </a:moveTo>
                <a:cubicBezTo>
                  <a:pt x="1974733" y="6565683"/>
                  <a:pt x="1960502" y="6583578"/>
                  <a:pt x="1959855" y="6615819"/>
                </a:cubicBezTo>
                <a:cubicBezTo>
                  <a:pt x="1959533" y="6635487"/>
                  <a:pt x="1963898" y="6650157"/>
                  <a:pt x="1972792" y="6659669"/>
                </a:cubicBezTo>
                <a:cubicBezTo>
                  <a:pt x="1980231" y="6667729"/>
                  <a:pt x="1990743" y="6671759"/>
                  <a:pt x="2004003" y="6671759"/>
                </a:cubicBezTo>
                <a:cubicBezTo>
                  <a:pt x="2014676" y="6671759"/>
                  <a:pt x="2024864" y="6669019"/>
                  <a:pt x="2030686" y="6664344"/>
                </a:cubicBezTo>
                <a:cubicBezTo>
                  <a:pt x="2034728" y="6661119"/>
                  <a:pt x="2036022" y="6657250"/>
                  <a:pt x="2035538" y="6652736"/>
                </a:cubicBezTo>
                <a:cubicBezTo>
                  <a:pt x="2035214" y="6649029"/>
                  <a:pt x="2031979" y="6645160"/>
                  <a:pt x="2031979" y="6645160"/>
                </a:cubicBezTo>
                <a:cubicBezTo>
                  <a:pt x="2031979" y="6645160"/>
                  <a:pt x="2029230" y="6646611"/>
                  <a:pt x="2026319" y="6647578"/>
                </a:cubicBezTo>
                <a:cubicBezTo>
                  <a:pt x="2020983" y="6649190"/>
                  <a:pt x="2013707" y="6651286"/>
                  <a:pt x="2006267" y="6651286"/>
                </a:cubicBezTo>
                <a:cubicBezTo>
                  <a:pt x="1993653" y="6651286"/>
                  <a:pt x="1986376" y="6643548"/>
                  <a:pt x="1984436" y="6629845"/>
                </a:cubicBezTo>
                <a:cubicBezTo>
                  <a:pt x="1990257" y="6630651"/>
                  <a:pt x="1994947" y="6630812"/>
                  <a:pt x="2000607" y="6630812"/>
                </a:cubicBezTo>
                <a:cubicBezTo>
                  <a:pt x="2022115" y="6630812"/>
                  <a:pt x="2037317" y="6619850"/>
                  <a:pt x="2037963" y="6600021"/>
                </a:cubicBezTo>
                <a:cubicBezTo>
                  <a:pt x="2038286" y="6590348"/>
                  <a:pt x="2036184" y="6582449"/>
                  <a:pt x="2030686" y="6576323"/>
                </a:cubicBezTo>
                <a:cubicBezTo>
                  <a:pt x="2023894" y="6569069"/>
                  <a:pt x="2013221" y="6565683"/>
                  <a:pt x="1999798" y="6565683"/>
                </a:cubicBezTo>
                <a:close/>
                <a:moveTo>
                  <a:pt x="1878850" y="6565683"/>
                </a:moveTo>
                <a:cubicBezTo>
                  <a:pt x="1872260" y="6565683"/>
                  <a:pt x="1866313" y="6568732"/>
                  <a:pt x="1861974" y="6574028"/>
                </a:cubicBezTo>
                <a:cubicBezTo>
                  <a:pt x="1860849" y="6569053"/>
                  <a:pt x="1856991" y="6567288"/>
                  <a:pt x="1851687" y="6567288"/>
                </a:cubicBezTo>
                <a:cubicBezTo>
                  <a:pt x="1846384" y="6567288"/>
                  <a:pt x="1839955" y="6568251"/>
                  <a:pt x="1837383" y="6569695"/>
                </a:cubicBezTo>
                <a:cubicBezTo>
                  <a:pt x="1838830" y="6572744"/>
                  <a:pt x="1839312" y="6577879"/>
                  <a:pt x="1839312" y="6582694"/>
                </a:cubicBezTo>
                <a:lnTo>
                  <a:pt x="1839312" y="6660042"/>
                </a:lnTo>
                <a:cubicBezTo>
                  <a:pt x="1839312" y="6667585"/>
                  <a:pt x="1843973" y="6670152"/>
                  <a:pt x="1850402" y="6670152"/>
                </a:cubicBezTo>
                <a:cubicBezTo>
                  <a:pt x="1856027" y="6670152"/>
                  <a:pt x="1861170" y="6669029"/>
                  <a:pt x="1863902" y="6667585"/>
                </a:cubicBezTo>
                <a:cubicBezTo>
                  <a:pt x="1863902" y="6607888"/>
                  <a:pt x="1863902" y="6607888"/>
                  <a:pt x="1863902" y="6607888"/>
                </a:cubicBezTo>
                <a:cubicBezTo>
                  <a:pt x="1864706" y="6595211"/>
                  <a:pt x="1870331" y="6588792"/>
                  <a:pt x="1880296" y="6588792"/>
                </a:cubicBezTo>
                <a:cubicBezTo>
                  <a:pt x="1883350" y="6588792"/>
                  <a:pt x="1885439" y="6589754"/>
                  <a:pt x="1887207" y="6590396"/>
                </a:cubicBezTo>
                <a:cubicBezTo>
                  <a:pt x="1888493" y="6590878"/>
                  <a:pt x="1890100" y="6591680"/>
                  <a:pt x="1891064" y="6592322"/>
                </a:cubicBezTo>
                <a:cubicBezTo>
                  <a:pt x="1891064" y="6592322"/>
                  <a:pt x="1895243" y="6588150"/>
                  <a:pt x="1895243" y="6580928"/>
                </a:cubicBezTo>
                <a:cubicBezTo>
                  <a:pt x="1895243" y="6573226"/>
                  <a:pt x="1890100" y="6565683"/>
                  <a:pt x="1878850" y="6565683"/>
                </a:cubicBezTo>
                <a:close/>
                <a:moveTo>
                  <a:pt x="1781935" y="6565683"/>
                </a:moveTo>
                <a:cubicBezTo>
                  <a:pt x="1758413" y="6565683"/>
                  <a:pt x="1739344" y="6589429"/>
                  <a:pt x="1739344" y="6618721"/>
                </a:cubicBezTo>
                <a:cubicBezTo>
                  <a:pt x="1739344" y="6648013"/>
                  <a:pt x="1758413" y="6671759"/>
                  <a:pt x="1781935" y="6671759"/>
                </a:cubicBezTo>
                <a:cubicBezTo>
                  <a:pt x="1805457" y="6671759"/>
                  <a:pt x="1824526" y="6648013"/>
                  <a:pt x="1824526" y="6618721"/>
                </a:cubicBezTo>
                <a:cubicBezTo>
                  <a:pt x="1824526" y="6589429"/>
                  <a:pt x="1805457" y="6565683"/>
                  <a:pt x="1781935" y="6565683"/>
                </a:cubicBezTo>
                <a:close/>
                <a:moveTo>
                  <a:pt x="1683895" y="6565683"/>
                </a:moveTo>
                <a:cubicBezTo>
                  <a:pt x="1660373" y="6565683"/>
                  <a:pt x="1641304" y="6589429"/>
                  <a:pt x="1641304" y="6618721"/>
                </a:cubicBezTo>
                <a:cubicBezTo>
                  <a:pt x="1641304" y="6648013"/>
                  <a:pt x="1660373" y="6671759"/>
                  <a:pt x="1683895" y="6671759"/>
                </a:cubicBezTo>
                <a:cubicBezTo>
                  <a:pt x="1707417" y="6671759"/>
                  <a:pt x="1726486" y="6648013"/>
                  <a:pt x="1726486" y="6618721"/>
                </a:cubicBezTo>
                <a:cubicBezTo>
                  <a:pt x="1726486" y="6589429"/>
                  <a:pt x="1707417" y="6565683"/>
                  <a:pt x="1683895" y="6565683"/>
                </a:cubicBezTo>
                <a:close/>
                <a:moveTo>
                  <a:pt x="1449234" y="6565683"/>
                </a:moveTo>
                <a:cubicBezTo>
                  <a:pt x="1424631" y="6565683"/>
                  <a:pt x="1410819" y="6583578"/>
                  <a:pt x="1410185" y="6615819"/>
                </a:cubicBezTo>
                <a:cubicBezTo>
                  <a:pt x="1409867" y="6635487"/>
                  <a:pt x="1414154" y="6650157"/>
                  <a:pt x="1422726" y="6659669"/>
                </a:cubicBezTo>
                <a:cubicBezTo>
                  <a:pt x="1430027" y="6667729"/>
                  <a:pt x="1440345" y="6671759"/>
                  <a:pt x="1453362" y="6671759"/>
                </a:cubicBezTo>
                <a:cubicBezTo>
                  <a:pt x="1463839" y="6671759"/>
                  <a:pt x="1473998" y="6669019"/>
                  <a:pt x="1479553" y="6664344"/>
                </a:cubicBezTo>
                <a:cubicBezTo>
                  <a:pt x="1483681" y="6661119"/>
                  <a:pt x="1484791" y="6657250"/>
                  <a:pt x="1484474" y="6652736"/>
                </a:cubicBezTo>
                <a:cubicBezTo>
                  <a:pt x="1484156" y="6649029"/>
                  <a:pt x="1480981" y="6645160"/>
                  <a:pt x="1480981" y="6645160"/>
                </a:cubicBezTo>
                <a:cubicBezTo>
                  <a:pt x="1480981" y="6645160"/>
                  <a:pt x="1478125" y="6646611"/>
                  <a:pt x="1475268" y="6647578"/>
                </a:cubicBezTo>
                <a:cubicBezTo>
                  <a:pt x="1470028" y="6649190"/>
                  <a:pt x="1462886" y="6651286"/>
                  <a:pt x="1455584" y="6651286"/>
                </a:cubicBezTo>
                <a:cubicBezTo>
                  <a:pt x="1443361" y="6651286"/>
                  <a:pt x="1436217" y="6643548"/>
                  <a:pt x="1434155" y="6629845"/>
                </a:cubicBezTo>
                <a:cubicBezTo>
                  <a:pt x="1439868" y="6630651"/>
                  <a:pt x="1444630" y="6630812"/>
                  <a:pt x="1450027" y="6630812"/>
                </a:cubicBezTo>
                <a:cubicBezTo>
                  <a:pt x="1471299" y="6630812"/>
                  <a:pt x="1486220" y="6619850"/>
                  <a:pt x="1486855" y="6600021"/>
                </a:cubicBezTo>
                <a:cubicBezTo>
                  <a:pt x="1487014" y="6590348"/>
                  <a:pt x="1485109" y="6582449"/>
                  <a:pt x="1479553" y="6576323"/>
                </a:cubicBezTo>
                <a:cubicBezTo>
                  <a:pt x="1473045" y="6569069"/>
                  <a:pt x="1462568" y="6565683"/>
                  <a:pt x="1449234" y="6565683"/>
                </a:cubicBezTo>
                <a:close/>
                <a:moveTo>
                  <a:pt x="1260323" y="6565683"/>
                </a:moveTo>
                <a:cubicBezTo>
                  <a:pt x="1250979" y="6565683"/>
                  <a:pt x="1243377" y="6569374"/>
                  <a:pt x="1237358" y="6576435"/>
                </a:cubicBezTo>
                <a:cubicBezTo>
                  <a:pt x="1237041" y="6569374"/>
                  <a:pt x="1232765" y="6566967"/>
                  <a:pt x="1226589" y="6566967"/>
                </a:cubicBezTo>
                <a:cubicBezTo>
                  <a:pt x="1221204" y="6566967"/>
                  <a:pt x="1214711" y="6567930"/>
                  <a:pt x="1212176" y="6569374"/>
                </a:cubicBezTo>
                <a:cubicBezTo>
                  <a:pt x="1213602" y="6572423"/>
                  <a:pt x="1214077" y="6577558"/>
                  <a:pt x="1214077" y="6582373"/>
                </a:cubicBezTo>
                <a:cubicBezTo>
                  <a:pt x="1214077" y="6591841"/>
                  <a:pt x="1214077" y="6591841"/>
                  <a:pt x="1214077" y="6591841"/>
                </a:cubicBezTo>
                <a:cubicBezTo>
                  <a:pt x="1214077" y="6659561"/>
                  <a:pt x="1214077" y="6659561"/>
                  <a:pt x="1214077" y="6659561"/>
                </a:cubicBezTo>
                <a:cubicBezTo>
                  <a:pt x="1214077" y="6667103"/>
                  <a:pt x="1218670" y="6669831"/>
                  <a:pt x="1224847" y="6669831"/>
                </a:cubicBezTo>
                <a:cubicBezTo>
                  <a:pt x="1230390" y="6669831"/>
                  <a:pt x="1235458" y="6668547"/>
                  <a:pt x="1238150" y="6667103"/>
                </a:cubicBezTo>
                <a:cubicBezTo>
                  <a:pt x="1238150" y="6648649"/>
                  <a:pt x="1238150" y="6648649"/>
                  <a:pt x="1238150" y="6648649"/>
                </a:cubicBezTo>
                <a:cubicBezTo>
                  <a:pt x="1238150" y="6599383"/>
                  <a:pt x="1238150" y="6599383"/>
                  <a:pt x="1238150" y="6599383"/>
                </a:cubicBezTo>
                <a:cubicBezTo>
                  <a:pt x="1241160" y="6590717"/>
                  <a:pt x="1245752" y="6586866"/>
                  <a:pt x="1252404" y="6586866"/>
                </a:cubicBezTo>
                <a:cubicBezTo>
                  <a:pt x="1260006" y="6586866"/>
                  <a:pt x="1264124" y="6592803"/>
                  <a:pt x="1264599" y="6604518"/>
                </a:cubicBezTo>
                <a:cubicBezTo>
                  <a:pt x="1264599" y="6646402"/>
                  <a:pt x="1264599" y="6646402"/>
                  <a:pt x="1264599" y="6646402"/>
                </a:cubicBezTo>
                <a:cubicBezTo>
                  <a:pt x="1264599" y="6654907"/>
                  <a:pt x="1266024" y="6660845"/>
                  <a:pt x="1269033" y="6664696"/>
                </a:cubicBezTo>
                <a:cubicBezTo>
                  <a:pt x="1272043" y="6668387"/>
                  <a:pt x="1276319" y="6670152"/>
                  <a:pt x="1282179" y="6670152"/>
                </a:cubicBezTo>
                <a:cubicBezTo>
                  <a:pt x="1292948" y="6670152"/>
                  <a:pt x="1298809" y="6666301"/>
                  <a:pt x="1298966" y="6657796"/>
                </a:cubicBezTo>
                <a:cubicBezTo>
                  <a:pt x="1298966" y="6655870"/>
                  <a:pt x="1298333" y="6653142"/>
                  <a:pt x="1297699" y="6652340"/>
                </a:cubicBezTo>
                <a:cubicBezTo>
                  <a:pt x="1294532" y="6652340"/>
                  <a:pt x="1294532" y="6652340"/>
                  <a:pt x="1294532" y="6652340"/>
                </a:cubicBezTo>
                <a:cubicBezTo>
                  <a:pt x="1292315" y="6652340"/>
                  <a:pt x="1291048" y="6652179"/>
                  <a:pt x="1290098" y="6651377"/>
                </a:cubicBezTo>
                <a:cubicBezTo>
                  <a:pt x="1289147" y="6650253"/>
                  <a:pt x="1288672" y="6647846"/>
                  <a:pt x="1288672" y="6643674"/>
                </a:cubicBezTo>
                <a:cubicBezTo>
                  <a:pt x="1288672" y="6609814"/>
                  <a:pt x="1288672" y="6609814"/>
                  <a:pt x="1288672" y="6609814"/>
                </a:cubicBezTo>
                <a:cubicBezTo>
                  <a:pt x="1288672" y="6589273"/>
                  <a:pt x="1285346" y="6565683"/>
                  <a:pt x="1260323" y="6565683"/>
                </a:cubicBezTo>
                <a:close/>
                <a:moveTo>
                  <a:pt x="1143227" y="6565683"/>
                </a:moveTo>
                <a:cubicBezTo>
                  <a:pt x="1133423" y="6565683"/>
                  <a:pt x="1125226" y="6569089"/>
                  <a:pt x="1119118" y="6575577"/>
                </a:cubicBezTo>
                <a:cubicBezTo>
                  <a:pt x="1108511" y="6587093"/>
                  <a:pt x="1106100" y="6606557"/>
                  <a:pt x="1106261" y="6616288"/>
                </a:cubicBezTo>
                <a:cubicBezTo>
                  <a:pt x="1106100" y="6636401"/>
                  <a:pt x="1110279" y="6652945"/>
                  <a:pt x="1119279" y="6662676"/>
                </a:cubicBezTo>
                <a:cubicBezTo>
                  <a:pt x="1124904" y="6668678"/>
                  <a:pt x="1132298" y="6671759"/>
                  <a:pt x="1140494" y="6671759"/>
                </a:cubicBezTo>
                <a:cubicBezTo>
                  <a:pt x="1151102" y="6671759"/>
                  <a:pt x="1159299" y="6667218"/>
                  <a:pt x="1164281" y="6659108"/>
                </a:cubicBezTo>
                <a:cubicBezTo>
                  <a:pt x="1164281" y="6659108"/>
                  <a:pt x="1165888" y="6663487"/>
                  <a:pt x="1167817" y="6665920"/>
                </a:cubicBezTo>
                <a:cubicBezTo>
                  <a:pt x="1170871" y="6669651"/>
                  <a:pt x="1174728" y="6671597"/>
                  <a:pt x="1180835" y="6671597"/>
                </a:cubicBezTo>
                <a:cubicBezTo>
                  <a:pt x="1191604" y="6671597"/>
                  <a:pt x="1197711" y="6667704"/>
                  <a:pt x="1197711" y="6659108"/>
                </a:cubicBezTo>
                <a:cubicBezTo>
                  <a:pt x="1197711" y="6657162"/>
                  <a:pt x="1197068" y="6654404"/>
                  <a:pt x="1196586" y="6653593"/>
                </a:cubicBezTo>
                <a:cubicBezTo>
                  <a:pt x="1193211" y="6653593"/>
                  <a:pt x="1193211" y="6653593"/>
                  <a:pt x="1193211" y="6653593"/>
                </a:cubicBezTo>
                <a:cubicBezTo>
                  <a:pt x="1190961" y="6653593"/>
                  <a:pt x="1189675" y="6653431"/>
                  <a:pt x="1188871" y="6652620"/>
                </a:cubicBezTo>
                <a:cubicBezTo>
                  <a:pt x="1187746" y="6651485"/>
                  <a:pt x="1187264" y="6649052"/>
                  <a:pt x="1187264" y="6644835"/>
                </a:cubicBezTo>
                <a:cubicBezTo>
                  <a:pt x="1187425" y="6567954"/>
                  <a:pt x="1187425" y="6567954"/>
                  <a:pt x="1187425" y="6567954"/>
                </a:cubicBezTo>
                <a:lnTo>
                  <a:pt x="1174889" y="6567954"/>
                </a:lnTo>
                <a:cubicBezTo>
                  <a:pt x="1169585" y="6567954"/>
                  <a:pt x="1165245" y="6570225"/>
                  <a:pt x="1164603" y="6576875"/>
                </a:cubicBezTo>
                <a:cubicBezTo>
                  <a:pt x="1160585" y="6570874"/>
                  <a:pt x="1152870" y="6565683"/>
                  <a:pt x="1143227" y="6565683"/>
                </a:cubicBezTo>
                <a:close/>
                <a:moveTo>
                  <a:pt x="1918499" y="6544789"/>
                </a:moveTo>
                <a:cubicBezTo>
                  <a:pt x="1912731" y="6544789"/>
                  <a:pt x="1906003" y="6545763"/>
                  <a:pt x="1903279" y="6547225"/>
                </a:cubicBezTo>
                <a:cubicBezTo>
                  <a:pt x="1904561" y="6549823"/>
                  <a:pt x="1905042" y="6554206"/>
                  <a:pt x="1905202" y="6558428"/>
                </a:cubicBezTo>
                <a:cubicBezTo>
                  <a:pt x="1905202" y="6641234"/>
                  <a:pt x="1905202" y="6641234"/>
                  <a:pt x="1905202" y="6641234"/>
                </a:cubicBezTo>
                <a:cubicBezTo>
                  <a:pt x="1905202" y="6660881"/>
                  <a:pt x="1914814" y="6671759"/>
                  <a:pt x="1930194" y="6671759"/>
                </a:cubicBezTo>
                <a:cubicBezTo>
                  <a:pt x="1946215" y="6671759"/>
                  <a:pt x="1953103" y="6663154"/>
                  <a:pt x="1951982" y="6655198"/>
                </a:cubicBezTo>
                <a:cubicBezTo>
                  <a:pt x="1951341" y="6650002"/>
                  <a:pt x="1948457" y="6647242"/>
                  <a:pt x="1948457" y="6647242"/>
                </a:cubicBezTo>
                <a:cubicBezTo>
                  <a:pt x="1947817" y="6647729"/>
                  <a:pt x="1945734" y="6648541"/>
                  <a:pt x="1944452" y="6649028"/>
                </a:cubicBezTo>
                <a:cubicBezTo>
                  <a:pt x="1942530" y="6649840"/>
                  <a:pt x="1939646" y="6650652"/>
                  <a:pt x="1937083" y="6650652"/>
                </a:cubicBezTo>
                <a:cubicBezTo>
                  <a:pt x="1932116" y="6650652"/>
                  <a:pt x="1929873" y="6647404"/>
                  <a:pt x="1929553" y="6639124"/>
                </a:cubicBezTo>
                <a:cubicBezTo>
                  <a:pt x="1929553" y="6588628"/>
                  <a:pt x="1929553" y="6588628"/>
                  <a:pt x="1929553" y="6588628"/>
                </a:cubicBezTo>
                <a:cubicBezTo>
                  <a:pt x="1942049" y="6588628"/>
                  <a:pt x="1942049" y="6588628"/>
                  <a:pt x="1942049" y="6588628"/>
                </a:cubicBezTo>
                <a:cubicBezTo>
                  <a:pt x="1950220" y="6588628"/>
                  <a:pt x="1951822" y="6580834"/>
                  <a:pt x="1951822" y="6576126"/>
                </a:cubicBezTo>
                <a:cubicBezTo>
                  <a:pt x="1951822" y="6572716"/>
                  <a:pt x="1951021" y="6569956"/>
                  <a:pt x="1949098" y="6568170"/>
                </a:cubicBezTo>
                <a:cubicBezTo>
                  <a:pt x="1929713" y="6568170"/>
                  <a:pt x="1929713" y="6568170"/>
                  <a:pt x="1929713" y="6568170"/>
                </a:cubicBezTo>
                <a:cubicBezTo>
                  <a:pt x="1929713" y="6555018"/>
                  <a:pt x="1929713" y="6555018"/>
                  <a:pt x="1929713" y="6555018"/>
                </a:cubicBezTo>
                <a:cubicBezTo>
                  <a:pt x="1929713" y="6547549"/>
                  <a:pt x="1925067" y="6544789"/>
                  <a:pt x="1918499" y="6544789"/>
                </a:cubicBezTo>
                <a:close/>
                <a:moveTo>
                  <a:pt x="2066345" y="6525502"/>
                </a:moveTo>
                <a:cubicBezTo>
                  <a:pt x="2060584" y="6525502"/>
                  <a:pt x="2053863" y="6526470"/>
                  <a:pt x="2051142" y="6527921"/>
                </a:cubicBezTo>
                <a:cubicBezTo>
                  <a:pt x="2052742" y="6530985"/>
                  <a:pt x="2053223" y="6536145"/>
                  <a:pt x="2053223" y="6540983"/>
                </a:cubicBezTo>
                <a:lnTo>
                  <a:pt x="2053223" y="6647894"/>
                </a:lnTo>
                <a:cubicBezTo>
                  <a:pt x="2053223" y="6656440"/>
                  <a:pt x="2054663" y="6662407"/>
                  <a:pt x="2057703" y="6666277"/>
                </a:cubicBezTo>
                <a:cubicBezTo>
                  <a:pt x="2060744" y="6669985"/>
                  <a:pt x="2065065" y="6671759"/>
                  <a:pt x="2071145" y="6671759"/>
                </a:cubicBezTo>
                <a:cubicBezTo>
                  <a:pt x="2082027" y="6671759"/>
                  <a:pt x="2087948" y="6667889"/>
                  <a:pt x="2088108" y="6659343"/>
                </a:cubicBezTo>
                <a:cubicBezTo>
                  <a:pt x="2088108" y="6657408"/>
                  <a:pt x="2087468" y="6654666"/>
                  <a:pt x="2086988" y="6653860"/>
                </a:cubicBezTo>
                <a:cubicBezTo>
                  <a:pt x="2083628" y="6653860"/>
                  <a:pt x="2083628" y="6653860"/>
                  <a:pt x="2083628" y="6653860"/>
                </a:cubicBezTo>
                <a:cubicBezTo>
                  <a:pt x="2081387" y="6653860"/>
                  <a:pt x="2080107" y="6653699"/>
                  <a:pt x="2079147" y="6652893"/>
                </a:cubicBezTo>
                <a:cubicBezTo>
                  <a:pt x="2078027" y="6651925"/>
                  <a:pt x="2077546" y="6649506"/>
                  <a:pt x="2077707" y="6645152"/>
                </a:cubicBezTo>
                <a:cubicBezTo>
                  <a:pt x="2077707" y="6535822"/>
                  <a:pt x="2077707" y="6535822"/>
                  <a:pt x="2077707" y="6535822"/>
                </a:cubicBezTo>
                <a:cubicBezTo>
                  <a:pt x="2077707" y="6534371"/>
                  <a:pt x="2077546" y="6533081"/>
                  <a:pt x="2077226" y="6531952"/>
                </a:cubicBezTo>
                <a:cubicBezTo>
                  <a:pt x="2075786" y="6527276"/>
                  <a:pt x="2071786" y="6525502"/>
                  <a:pt x="2066345" y="6525502"/>
                </a:cubicBezTo>
                <a:close/>
                <a:moveTo>
                  <a:pt x="1380115" y="6525502"/>
                </a:moveTo>
                <a:cubicBezTo>
                  <a:pt x="1374565" y="6525502"/>
                  <a:pt x="1367871" y="6526468"/>
                  <a:pt x="1365259" y="6527916"/>
                </a:cubicBezTo>
                <a:cubicBezTo>
                  <a:pt x="1366728" y="6530973"/>
                  <a:pt x="1367219" y="6536282"/>
                  <a:pt x="1367219" y="6541109"/>
                </a:cubicBezTo>
                <a:cubicBezTo>
                  <a:pt x="1367219" y="6576024"/>
                  <a:pt x="1367219" y="6576024"/>
                  <a:pt x="1367219" y="6576024"/>
                </a:cubicBezTo>
                <a:cubicBezTo>
                  <a:pt x="1361342" y="6569910"/>
                  <a:pt x="1354811" y="6566531"/>
                  <a:pt x="1346486" y="6566531"/>
                </a:cubicBezTo>
                <a:cubicBezTo>
                  <a:pt x="1336363" y="6566531"/>
                  <a:pt x="1328201" y="6569749"/>
                  <a:pt x="1321997" y="6576346"/>
                </a:cubicBezTo>
                <a:cubicBezTo>
                  <a:pt x="1311059" y="6587770"/>
                  <a:pt x="1308773" y="6606917"/>
                  <a:pt x="1308773" y="6616732"/>
                </a:cubicBezTo>
                <a:cubicBezTo>
                  <a:pt x="1308609" y="6636522"/>
                  <a:pt x="1313018" y="6652934"/>
                  <a:pt x="1322159" y="6662588"/>
                </a:cubicBezTo>
                <a:cubicBezTo>
                  <a:pt x="1327874" y="6668702"/>
                  <a:pt x="1335220" y="6671759"/>
                  <a:pt x="1343546" y="6671759"/>
                </a:cubicBezTo>
                <a:cubicBezTo>
                  <a:pt x="1354484" y="6671759"/>
                  <a:pt x="1362647" y="6666932"/>
                  <a:pt x="1367707" y="6659048"/>
                </a:cubicBezTo>
                <a:cubicBezTo>
                  <a:pt x="1367707" y="6659048"/>
                  <a:pt x="1369667" y="6663714"/>
                  <a:pt x="1371463" y="6665967"/>
                </a:cubicBezTo>
                <a:cubicBezTo>
                  <a:pt x="1374565" y="6669507"/>
                  <a:pt x="1378482" y="6671437"/>
                  <a:pt x="1384686" y="6671437"/>
                </a:cubicBezTo>
                <a:cubicBezTo>
                  <a:pt x="1395624" y="6671437"/>
                  <a:pt x="1401665" y="6667576"/>
                  <a:pt x="1401828" y="6659048"/>
                </a:cubicBezTo>
                <a:cubicBezTo>
                  <a:pt x="1401828" y="6657117"/>
                  <a:pt x="1401175" y="6654382"/>
                  <a:pt x="1400684" y="6653578"/>
                </a:cubicBezTo>
                <a:cubicBezTo>
                  <a:pt x="1397257" y="6653578"/>
                  <a:pt x="1397257" y="6653578"/>
                  <a:pt x="1397257" y="6653578"/>
                </a:cubicBezTo>
                <a:cubicBezTo>
                  <a:pt x="1394971" y="6653578"/>
                  <a:pt x="1393665" y="6653417"/>
                  <a:pt x="1392849" y="6652612"/>
                </a:cubicBezTo>
                <a:cubicBezTo>
                  <a:pt x="1391705" y="6651486"/>
                  <a:pt x="1391217" y="6649073"/>
                  <a:pt x="1391217" y="6644889"/>
                </a:cubicBezTo>
                <a:lnTo>
                  <a:pt x="1391217" y="6535639"/>
                </a:lnTo>
                <a:cubicBezTo>
                  <a:pt x="1391217" y="6528238"/>
                  <a:pt x="1386646" y="6525502"/>
                  <a:pt x="1380115" y="6525502"/>
                </a:cubicBezTo>
                <a:close/>
                <a:moveTo>
                  <a:pt x="939592" y="6525502"/>
                </a:moveTo>
                <a:cubicBezTo>
                  <a:pt x="914037" y="6533435"/>
                  <a:pt x="892500" y="6553024"/>
                  <a:pt x="882857" y="6580222"/>
                </a:cubicBezTo>
                <a:cubicBezTo>
                  <a:pt x="873053" y="6607420"/>
                  <a:pt x="877232" y="6636236"/>
                  <a:pt x="891858" y="6658901"/>
                </a:cubicBezTo>
                <a:cubicBezTo>
                  <a:pt x="917252" y="6650807"/>
                  <a:pt x="938788" y="6631380"/>
                  <a:pt x="948592" y="6604020"/>
                </a:cubicBezTo>
                <a:cubicBezTo>
                  <a:pt x="958235" y="6576822"/>
                  <a:pt x="954056" y="6548005"/>
                  <a:pt x="939592" y="6525502"/>
                </a:cubicBezTo>
                <a:close/>
                <a:moveTo>
                  <a:pt x="1093886" y="6523895"/>
                </a:moveTo>
                <a:cubicBezTo>
                  <a:pt x="1086010" y="6523895"/>
                  <a:pt x="1080224" y="6525671"/>
                  <a:pt x="1080224" y="6525671"/>
                </a:cubicBezTo>
                <a:cubicBezTo>
                  <a:pt x="1063510" y="6597024"/>
                  <a:pt x="1063510" y="6597024"/>
                  <a:pt x="1063510" y="6597024"/>
                </a:cubicBezTo>
                <a:cubicBezTo>
                  <a:pt x="1061581" y="6604288"/>
                  <a:pt x="1057081" y="6625113"/>
                  <a:pt x="1055313" y="6636736"/>
                </a:cubicBezTo>
                <a:cubicBezTo>
                  <a:pt x="1053384" y="6624629"/>
                  <a:pt x="1049205" y="6604772"/>
                  <a:pt x="1047116" y="6596701"/>
                </a:cubicBezTo>
                <a:cubicBezTo>
                  <a:pt x="1032811" y="6535357"/>
                  <a:pt x="1032811" y="6535357"/>
                  <a:pt x="1032811" y="6535357"/>
                </a:cubicBezTo>
                <a:cubicBezTo>
                  <a:pt x="1031044" y="6527770"/>
                  <a:pt x="1026704" y="6524218"/>
                  <a:pt x="1019472" y="6524218"/>
                </a:cubicBezTo>
                <a:cubicBezTo>
                  <a:pt x="1009989" y="6524218"/>
                  <a:pt x="1003560" y="6528415"/>
                  <a:pt x="1001632" y="6529868"/>
                </a:cubicBezTo>
                <a:cubicBezTo>
                  <a:pt x="1003721" y="6532451"/>
                  <a:pt x="1005167" y="6535357"/>
                  <a:pt x="1007418" y="6543267"/>
                </a:cubicBezTo>
                <a:cubicBezTo>
                  <a:pt x="1037151" y="6657238"/>
                  <a:pt x="1037151" y="6657238"/>
                  <a:pt x="1037151" y="6657238"/>
                </a:cubicBezTo>
                <a:cubicBezTo>
                  <a:pt x="1039401" y="6666278"/>
                  <a:pt x="1043098" y="6670152"/>
                  <a:pt x="1049688" y="6670152"/>
                </a:cubicBezTo>
                <a:cubicBezTo>
                  <a:pt x="1055955" y="6670152"/>
                  <a:pt x="1061902" y="6670152"/>
                  <a:pt x="1069777" y="6666278"/>
                </a:cubicBezTo>
                <a:cubicBezTo>
                  <a:pt x="1103529" y="6536971"/>
                  <a:pt x="1103529" y="6536971"/>
                  <a:pt x="1103529" y="6536971"/>
                </a:cubicBezTo>
                <a:cubicBezTo>
                  <a:pt x="1106101" y="6527931"/>
                  <a:pt x="1100636" y="6523895"/>
                  <a:pt x="1093886" y="6523895"/>
                </a:cubicBezTo>
                <a:close/>
                <a:moveTo>
                  <a:pt x="751551" y="6511583"/>
                </a:moveTo>
                <a:cubicBezTo>
                  <a:pt x="749297" y="6533484"/>
                  <a:pt x="756704" y="6556040"/>
                  <a:pt x="773932" y="6572221"/>
                </a:cubicBezTo>
                <a:cubicBezTo>
                  <a:pt x="791000" y="6588566"/>
                  <a:pt x="813864" y="6594613"/>
                  <a:pt x="835440" y="6591017"/>
                </a:cubicBezTo>
                <a:cubicBezTo>
                  <a:pt x="837694" y="6569116"/>
                  <a:pt x="830287" y="6546560"/>
                  <a:pt x="813059" y="6530215"/>
                </a:cubicBezTo>
                <a:cubicBezTo>
                  <a:pt x="795991" y="6514034"/>
                  <a:pt x="773127" y="6507823"/>
                  <a:pt x="751551" y="6511583"/>
                </a:cubicBezTo>
                <a:close/>
                <a:moveTo>
                  <a:pt x="883972" y="6454785"/>
                </a:moveTo>
                <a:cubicBezTo>
                  <a:pt x="866598" y="6462847"/>
                  <a:pt x="853050" y="6478810"/>
                  <a:pt x="848586" y="6499127"/>
                </a:cubicBezTo>
                <a:cubicBezTo>
                  <a:pt x="844123" y="6519443"/>
                  <a:pt x="849862" y="6539598"/>
                  <a:pt x="862135" y="6554432"/>
                </a:cubicBezTo>
                <a:cubicBezTo>
                  <a:pt x="879509" y="6546370"/>
                  <a:pt x="893057" y="6530407"/>
                  <a:pt x="897520" y="6510091"/>
                </a:cubicBezTo>
                <a:cubicBezTo>
                  <a:pt x="901983" y="6489775"/>
                  <a:pt x="896405" y="6469619"/>
                  <a:pt x="883972" y="6454785"/>
                </a:cubicBezTo>
                <a:close/>
                <a:moveTo>
                  <a:pt x="0" y="0"/>
                </a:moveTo>
                <a:lnTo>
                  <a:pt x="9143998" y="0"/>
                </a:lnTo>
                <a:lnTo>
                  <a:pt x="9143998" y="6857998"/>
                </a:lnTo>
                <a:lnTo>
                  <a:pt x="0" y="6857998"/>
                </a:lnTo>
                <a:close/>
              </a:path>
            </a:pathLst>
          </a:custGeom>
          <a:solidFill>
            <a:schemeClr val="accent6"/>
          </a:solidFill>
        </p:spPr>
        <p:txBody>
          <a:bodyPr wrap="square">
            <a:noAutofit/>
          </a:bodyPr>
          <a:lstStyle>
            <a:lvl1pPr marL="0" indent="0">
              <a:buNone/>
              <a:defRPr/>
            </a:lvl1pPr>
          </a:lstStyle>
          <a:p>
            <a:r>
              <a:rPr lang="en-GB"/>
              <a:t>[Click on icon to insert picture]</a:t>
            </a:r>
          </a:p>
        </p:txBody>
      </p:sp>
      <p:sp>
        <p:nvSpPr>
          <p:cNvPr id="2" name="Titel 1"/>
          <p:cNvSpPr>
            <a:spLocks noGrp="1" noSelect="1"/>
          </p:cNvSpPr>
          <p:nvPr>
            <p:ph type="title" hasCustomPrompt="1"/>
          </p:nvPr>
        </p:nvSpPr>
        <p:spPr bwMode="gray"/>
        <p:txBody>
          <a:bodyPr/>
          <a:lstStyle>
            <a:lvl1pPr>
              <a:defRPr/>
            </a:lvl1pPr>
          </a:lstStyle>
          <a:p>
            <a:r>
              <a:rPr lang="en-GB" noProof="1"/>
              <a:t>[Title]</a:t>
            </a:r>
          </a:p>
        </p:txBody>
      </p:sp>
      <p:sp>
        <p:nvSpPr>
          <p:cNvPr id="13" name="Tijdelijke aanduiding voor voettekst 12"/>
          <p:cNvSpPr>
            <a:spLocks noGrp="1" noSelect="1"/>
          </p:cNvSpPr>
          <p:nvPr>
            <p:ph type="ftr" sz="quarter" idx="10"/>
          </p:nvPr>
        </p:nvSpPr>
        <p:spPr bwMode="gray"/>
        <p:txBody>
          <a:bodyPr/>
          <a:lstStyle/>
          <a:p>
            <a:endParaRPr lang="en-US"/>
          </a:p>
        </p:txBody>
      </p:sp>
      <p:sp>
        <p:nvSpPr>
          <p:cNvPr id="14" name="Tijdelijke aanduiding voor dianummer 13"/>
          <p:cNvSpPr>
            <a:spLocks noGrp="1" noSelect="1"/>
          </p:cNvSpPr>
          <p:nvPr>
            <p:ph type="sldNum" sz="quarter" idx="11"/>
          </p:nvPr>
        </p:nvSpPr>
        <p:spPr bwMode="gray"/>
        <p:txBody>
          <a:bodyPr/>
          <a:lstStyle/>
          <a:p>
            <a:fld id="{ADECF1AC-24A7-42A4-9FAC-3CE63B9FFA68}" type="slidenum">
              <a:rPr lang="en-US" smtClean="0"/>
              <a:t>‹#›</a:t>
            </a:fld>
            <a:endParaRPr lang="en-US"/>
          </a:p>
        </p:txBody>
      </p:sp>
      <p:sp>
        <p:nvSpPr>
          <p:cNvPr id="6" name="Subtitle"/>
          <p:cNvSpPr>
            <a:spLocks noGrp="1" noSelect="1"/>
          </p:cNvSpPr>
          <p:nvPr>
            <p:ph type="body" sz="quarter" idx="13" hasCustomPrompt="1"/>
          </p:nvPr>
        </p:nvSpPr>
        <p:spPr bwMode="gray">
          <a:xfrm>
            <a:off x="612000" y="2719201"/>
            <a:ext cx="6487200" cy="852170"/>
          </a:xfrm>
        </p:spPr>
        <p:txBody>
          <a:bodyPr/>
          <a:lstStyle>
            <a:lvl1pPr marL="0" indent="0">
              <a:spcBef>
                <a:spcPts val="0"/>
              </a:spcBef>
              <a:spcAft>
                <a:spcPts val="0"/>
              </a:spcAft>
              <a:buNone/>
              <a:defRPr sz="1700" b="0"/>
            </a:lvl1pPr>
            <a:lvl2pPr marL="0" indent="0">
              <a:spcBef>
                <a:spcPts val="0"/>
              </a:spcBef>
              <a:spcAft>
                <a:spcPts val="0"/>
              </a:spcAft>
              <a:buNone/>
              <a:defRPr sz="1700" b="0"/>
            </a:lvl2pPr>
            <a:lvl3pPr marL="0" indent="0">
              <a:spcBef>
                <a:spcPts val="0"/>
              </a:spcBef>
              <a:spcAft>
                <a:spcPts val="0"/>
              </a:spcAft>
              <a:buFont typeface="Arial" panose="020B0604020202020204" pitchFamily="34" charset="0"/>
              <a:buNone/>
              <a:defRPr sz="1700" b="0"/>
            </a:lvl3pPr>
            <a:lvl4pPr marL="0" indent="0">
              <a:spcBef>
                <a:spcPts val="0"/>
              </a:spcBef>
              <a:spcAft>
                <a:spcPts val="0"/>
              </a:spcAft>
              <a:buFont typeface="Arial" panose="020B0604020202020204" pitchFamily="34" charset="0"/>
              <a:buNone/>
              <a:defRPr sz="1700" b="0"/>
            </a:lvl4pPr>
            <a:lvl5pPr marL="0" indent="0">
              <a:spcBef>
                <a:spcPts val="0"/>
              </a:spcBef>
              <a:spcAft>
                <a:spcPts val="0"/>
              </a:spcAft>
              <a:buFont typeface="Arial" panose="020B0604020202020204" pitchFamily="34" charset="0"/>
              <a:buNone/>
              <a:defRPr sz="1700" b="0"/>
            </a:lvl5pPr>
            <a:lvl6pPr marL="0" indent="0">
              <a:spcBef>
                <a:spcPts val="0"/>
              </a:spcBef>
              <a:spcAft>
                <a:spcPts val="0"/>
              </a:spcAft>
              <a:buFont typeface="Arial" panose="020B0604020202020204" pitchFamily="34" charset="0"/>
              <a:buNone/>
              <a:defRPr sz="1700" b="0"/>
            </a:lvl6pPr>
            <a:lvl7pPr marL="0" indent="0">
              <a:spcBef>
                <a:spcPts val="0"/>
              </a:spcBef>
              <a:spcAft>
                <a:spcPts val="0"/>
              </a:spcAft>
              <a:buFont typeface="Arial" panose="020B0604020202020204" pitchFamily="34" charset="0"/>
              <a:buNone/>
              <a:defRPr sz="1700" b="0"/>
            </a:lvl7pPr>
            <a:lvl8pPr marL="0" indent="0">
              <a:spcBef>
                <a:spcPts val="0"/>
              </a:spcBef>
              <a:spcAft>
                <a:spcPts val="0"/>
              </a:spcAft>
              <a:buFont typeface="Arial" panose="020B0604020202020204" pitchFamily="34" charset="0"/>
              <a:buNone/>
              <a:defRPr sz="1700" b="0"/>
            </a:lvl8pPr>
            <a:lvl9pPr marL="0" indent="0">
              <a:spcBef>
                <a:spcPts val="0"/>
              </a:spcBef>
              <a:spcAft>
                <a:spcPts val="0"/>
              </a:spcAft>
              <a:buFont typeface="Arial" panose="020B0604020202020204" pitchFamily="34" charset="0"/>
              <a:buNone/>
              <a:defRPr sz="1700" b="0"/>
            </a:lvl9pPr>
          </a:lstStyle>
          <a:p>
            <a:pPr lvl="0"/>
            <a:r>
              <a:rPr lang="en-GB"/>
              <a:t>[Subtitle or streamer]</a:t>
            </a:r>
          </a:p>
        </p:txBody>
      </p:sp>
      <p:sp>
        <p:nvSpPr>
          <p:cNvPr id="10" name="Streep (PHJU)"/>
          <p:cNvSpPr>
            <a:spLocks noGrp="1" noSelect="1"/>
          </p:cNvSpPr>
          <p:nvPr>
            <p:ph type="body" idx="1003" hasCustomPrompt="1"/>
          </p:nvPr>
        </p:nvSpPr>
        <p:spPr bwMode="gray">
          <a:xfrm>
            <a:off x="604520" y="2233449"/>
            <a:ext cx="1209040" cy="528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Tree>
    <p:extLst>
      <p:ext uri="{BB962C8B-B14F-4D97-AF65-F5344CB8AC3E}">
        <p14:creationId xmlns:p14="http://schemas.microsoft.com/office/powerpoint/2010/main" val="12105023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and Image (white text)">
    <p:spTree>
      <p:nvGrpSpPr>
        <p:cNvPr id="1" name=""/>
        <p:cNvGrpSpPr/>
        <p:nvPr/>
      </p:nvGrpSpPr>
      <p:grpSpPr>
        <a:xfrm>
          <a:off x="0" y="0"/>
          <a:ext cx="0" cy="0"/>
          <a:chOff x="0" y="0"/>
          <a:chExt cx="0" cy="0"/>
        </a:xfrm>
      </p:grpSpPr>
      <p:sp>
        <p:nvSpPr>
          <p:cNvPr id="95" name="Tijdelijke aanduiding voor afbeelding 94"/>
          <p:cNvSpPr>
            <a:spLocks noGrp="1" noSelect="1"/>
          </p:cNvSpPr>
          <p:nvPr>
            <p:ph type="pic" sz="quarter" idx="12" hasCustomPrompt="1"/>
          </p:nvPr>
        </p:nvSpPr>
        <p:spPr bwMode="gray">
          <a:xfrm>
            <a:off x="2" y="3"/>
            <a:ext cx="7772398" cy="10058397"/>
          </a:xfrm>
          <a:custGeom>
            <a:avLst/>
            <a:gdLst>
              <a:gd name="connsiteX0" fmla="*/ 797599 w 9143998"/>
              <a:gd name="connsiteY0" fmla="*/ 6612261 h 6857998"/>
              <a:gd name="connsiteX1" fmla="*/ 751385 w 9143998"/>
              <a:gd name="connsiteY1" fmla="*/ 6613749 h 6857998"/>
              <a:gd name="connsiteX2" fmla="*/ 790986 w 9143998"/>
              <a:gd name="connsiteY2" fmla="*/ 6696796 h 6857998"/>
              <a:gd name="connsiteX3" fmla="*/ 880768 w 9143998"/>
              <a:gd name="connsiteY3" fmla="*/ 6715304 h 6857998"/>
              <a:gd name="connsiteX4" fmla="*/ 841168 w 9143998"/>
              <a:gd name="connsiteY4" fmla="*/ 6632258 h 6857998"/>
              <a:gd name="connsiteX5" fmla="*/ 797599 w 9143998"/>
              <a:gd name="connsiteY5" fmla="*/ 6612261 h 6857998"/>
              <a:gd name="connsiteX6" fmla="*/ 1782094 w 9143998"/>
              <a:gd name="connsiteY6" fmla="*/ 6586577 h 6857998"/>
              <a:gd name="connsiteX7" fmla="*/ 1798811 w 9143998"/>
              <a:gd name="connsiteY7" fmla="*/ 6618563 h 6857998"/>
              <a:gd name="connsiteX8" fmla="*/ 1782094 w 9143998"/>
              <a:gd name="connsiteY8" fmla="*/ 6650866 h 6857998"/>
              <a:gd name="connsiteX9" fmla="*/ 1765059 w 9143998"/>
              <a:gd name="connsiteY9" fmla="*/ 6618563 h 6857998"/>
              <a:gd name="connsiteX10" fmla="*/ 1782094 w 9143998"/>
              <a:gd name="connsiteY10" fmla="*/ 6586577 h 6857998"/>
              <a:gd name="connsiteX11" fmla="*/ 1684054 w 9143998"/>
              <a:gd name="connsiteY11" fmla="*/ 6586577 h 6857998"/>
              <a:gd name="connsiteX12" fmla="*/ 1700771 w 9143998"/>
              <a:gd name="connsiteY12" fmla="*/ 6618563 h 6857998"/>
              <a:gd name="connsiteX13" fmla="*/ 1684054 w 9143998"/>
              <a:gd name="connsiteY13" fmla="*/ 6650866 h 6857998"/>
              <a:gd name="connsiteX14" fmla="*/ 1667019 w 9143998"/>
              <a:gd name="connsiteY14" fmla="*/ 6618563 h 6857998"/>
              <a:gd name="connsiteX15" fmla="*/ 1684054 w 9143998"/>
              <a:gd name="connsiteY15" fmla="*/ 6586577 h 6857998"/>
              <a:gd name="connsiteX16" fmla="*/ 1350557 w 9143998"/>
              <a:gd name="connsiteY16" fmla="*/ 6586577 h 6857998"/>
              <a:gd name="connsiteX17" fmla="*/ 1360363 w 9143998"/>
              <a:gd name="connsiteY17" fmla="*/ 6590464 h 6857998"/>
              <a:gd name="connsiteX18" fmla="*/ 1366308 w 9143998"/>
              <a:gd name="connsiteY18" fmla="*/ 6618479 h 6857998"/>
              <a:gd name="connsiteX19" fmla="*/ 1366308 w 9143998"/>
              <a:gd name="connsiteY19" fmla="*/ 6621556 h 6857998"/>
              <a:gd name="connsiteX20" fmla="*/ 1350397 w 9143998"/>
              <a:gd name="connsiteY20" fmla="*/ 6650866 h 6857998"/>
              <a:gd name="connsiteX21" fmla="*/ 1341557 w 9143998"/>
              <a:gd name="connsiteY21" fmla="*/ 6646980 h 6857998"/>
              <a:gd name="connsiteX22" fmla="*/ 1334325 w 9143998"/>
              <a:gd name="connsiteY22" fmla="*/ 6618479 h 6857998"/>
              <a:gd name="connsiteX23" fmla="*/ 1350557 w 9143998"/>
              <a:gd name="connsiteY23" fmla="*/ 6586577 h 6857998"/>
              <a:gd name="connsiteX24" fmla="*/ 1148209 w 9143998"/>
              <a:gd name="connsiteY24" fmla="*/ 6586577 h 6857998"/>
              <a:gd name="connsiteX25" fmla="*/ 1157852 w 9143998"/>
              <a:gd name="connsiteY25" fmla="*/ 6590464 h 6857998"/>
              <a:gd name="connsiteX26" fmla="*/ 1163959 w 9143998"/>
              <a:gd name="connsiteY26" fmla="*/ 6618317 h 6857998"/>
              <a:gd name="connsiteX27" fmla="*/ 1163959 w 9143998"/>
              <a:gd name="connsiteY27" fmla="*/ 6621394 h 6857998"/>
              <a:gd name="connsiteX28" fmla="*/ 1148048 w 9143998"/>
              <a:gd name="connsiteY28" fmla="*/ 6650866 h 6857998"/>
              <a:gd name="connsiteX29" fmla="*/ 1139208 w 9143998"/>
              <a:gd name="connsiteY29" fmla="*/ 6646980 h 6857998"/>
              <a:gd name="connsiteX30" fmla="*/ 1131815 w 9143998"/>
              <a:gd name="connsiteY30" fmla="*/ 6618317 h 6857998"/>
              <a:gd name="connsiteX31" fmla="*/ 1148209 w 9143998"/>
              <a:gd name="connsiteY31" fmla="*/ 6586577 h 6857998"/>
              <a:gd name="connsiteX32" fmla="*/ 2139040 w 9143998"/>
              <a:gd name="connsiteY32" fmla="*/ 6583362 h 6857998"/>
              <a:gd name="connsiteX33" fmla="*/ 2149060 w 9143998"/>
              <a:gd name="connsiteY33" fmla="*/ 6587193 h 6857998"/>
              <a:gd name="connsiteX34" fmla="*/ 2152241 w 9143998"/>
              <a:gd name="connsiteY34" fmla="*/ 6599518 h 6857998"/>
              <a:gd name="connsiteX35" fmla="*/ 2136495 w 9143998"/>
              <a:gd name="connsiteY35" fmla="*/ 6615340 h 6857998"/>
              <a:gd name="connsiteX36" fmla="*/ 2121863 w 9143998"/>
              <a:gd name="connsiteY36" fmla="*/ 6614674 h 6857998"/>
              <a:gd name="connsiteX37" fmla="*/ 2139040 w 9143998"/>
              <a:gd name="connsiteY37" fmla="*/ 6583362 h 6857998"/>
              <a:gd name="connsiteX38" fmla="*/ 2001721 w 9143998"/>
              <a:gd name="connsiteY38" fmla="*/ 6583362 h 6857998"/>
              <a:gd name="connsiteX39" fmla="*/ 2012268 w 9143998"/>
              <a:gd name="connsiteY39" fmla="*/ 6587193 h 6857998"/>
              <a:gd name="connsiteX40" fmla="*/ 2015617 w 9143998"/>
              <a:gd name="connsiteY40" fmla="*/ 6599518 h 6857998"/>
              <a:gd name="connsiteX41" fmla="*/ 1999042 w 9143998"/>
              <a:gd name="connsiteY41" fmla="*/ 6615340 h 6857998"/>
              <a:gd name="connsiteX42" fmla="*/ 1983641 w 9143998"/>
              <a:gd name="connsiteY42" fmla="*/ 6614674 h 6857998"/>
              <a:gd name="connsiteX43" fmla="*/ 2001721 w 9143998"/>
              <a:gd name="connsiteY43" fmla="*/ 6583362 h 6857998"/>
              <a:gd name="connsiteX44" fmla="*/ 1451153 w 9143998"/>
              <a:gd name="connsiteY44" fmla="*/ 6583362 h 6857998"/>
              <a:gd name="connsiteX45" fmla="*/ 1461173 w 9143998"/>
              <a:gd name="connsiteY45" fmla="*/ 6587193 h 6857998"/>
              <a:gd name="connsiteX46" fmla="*/ 1464354 w 9143998"/>
              <a:gd name="connsiteY46" fmla="*/ 6599518 h 6857998"/>
              <a:gd name="connsiteX47" fmla="*/ 1448608 w 9143998"/>
              <a:gd name="connsiteY47" fmla="*/ 6615340 h 6857998"/>
              <a:gd name="connsiteX48" fmla="*/ 1433976 w 9143998"/>
              <a:gd name="connsiteY48" fmla="*/ 6614674 h 6857998"/>
              <a:gd name="connsiteX49" fmla="*/ 1451153 w 9143998"/>
              <a:gd name="connsiteY49" fmla="*/ 6583362 h 6857998"/>
              <a:gd name="connsiteX50" fmla="*/ 1547995 w 9143998"/>
              <a:gd name="connsiteY50" fmla="*/ 6567290 h 6857998"/>
              <a:gd name="connsiteX51" fmla="*/ 1525708 w 9143998"/>
              <a:gd name="connsiteY51" fmla="*/ 6577975 h 6857998"/>
              <a:gd name="connsiteX52" fmla="*/ 1525708 w 9143998"/>
              <a:gd name="connsiteY52" fmla="*/ 6577656 h 6857998"/>
              <a:gd name="connsiteX53" fmla="*/ 1514726 w 9143998"/>
              <a:gd name="connsiteY53" fmla="*/ 6567609 h 6857998"/>
              <a:gd name="connsiteX54" fmla="*/ 1499868 w 9143998"/>
              <a:gd name="connsiteY54" fmla="*/ 6570001 h 6857998"/>
              <a:gd name="connsiteX55" fmla="*/ 1501806 w 9143998"/>
              <a:gd name="connsiteY55" fmla="*/ 6581165 h 6857998"/>
              <a:gd name="connsiteX56" fmla="*/ 1501806 w 9143998"/>
              <a:gd name="connsiteY56" fmla="*/ 6659786 h 6857998"/>
              <a:gd name="connsiteX57" fmla="*/ 1512949 w 9143998"/>
              <a:gd name="connsiteY57" fmla="*/ 6669833 h 6857998"/>
              <a:gd name="connsiteX58" fmla="*/ 1526354 w 9143998"/>
              <a:gd name="connsiteY58" fmla="*/ 6667282 h 6857998"/>
              <a:gd name="connsiteX59" fmla="*/ 1526354 w 9143998"/>
              <a:gd name="connsiteY59" fmla="*/ 6600621 h 6857998"/>
              <a:gd name="connsiteX60" fmla="*/ 1538951 w 9143998"/>
              <a:gd name="connsiteY60" fmla="*/ 6588182 h 6857998"/>
              <a:gd name="connsiteX61" fmla="*/ 1546057 w 9143998"/>
              <a:gd name="connsiteY61" fmla="*/ 6591052 h 6857998"/>
              <a:gd name="connsiteX62" fmla="*/ 1550095 w 9143998"/>
              <a:gd name="connsiteY62" fmla="*/ 6605564 h 6857998"/>
              <a:gd name="connsiteX63" fmla="*/ 1550095 w 9143998"/>
              <a:gd name="connsiteY63" fmla="*/ 6659786 h 6857998"/>
              <a:gd name="connsiteX64" fmla="*/ 1561238 w 9143998"/>
              <a:gd name="connsiteY64" fmla="*/ 6669833 h 6857998"/>
              <a:gd name="connsiteX65" fmla="*/ 1574804 w 9143998"/>
              <a:gd name="connsiteY65" fmla="*/ 6667282 h 6857998"/>
              <a:gd name="connsiteX66" fmla="*/ 1574804 w 9143998"/>
              <a:gd name="connsiteY66" fmla="*/ 6600621 h 6857998"/>
              <a:gd name="connsiteX67" fmla="*/ 1587401 w 9143998"/>
              <a:gd name="connsiteY67" fmla="*/ 6588182 h 6857998"/>
              <a:gd name="connsiteX68" fmla="*/ 1594507 w 9143998"/>
              <a:gd name="connsiteY68" fmla="*/ 6591052 h 6857998"/>
              <a:gd name="connsiteX69" fmla="*/ 1598383 w 9143998"/>
              <a:gd name="connsiteY69" fmla="*/ 6605564 h 6857998"/>
              <a:gd name="connsiteX70" fmla="*/ 1598383 w 9143998"/>
              <a:gd name="connsiteY70" fmla="*/ 6646550 h 6857998"/>
              <a:gd name="connsiteX71" fmla="*/ 1602905 w 9143998"/>
              <a:gd name="connsiteY71" fmla="*/ 6664730 h 6857998"/>
              <a:gd name="connsiteX72" fmla="*/ 1616309 w 9143998"/>
              <a:gd name="connsiteY72" fmla="*/ 6670152 h 6857998"/>
              <a:gd name="connsiteX73" fmla="*/ 1633267 w 9143998"/>
              <a:gd name="connsiteY73" fmla="*/ 6657873 h 6857998"/>
              <a:gd name="connsiteX74" fmla="*/ 1632137 w 9143998"/>
              <a:gd name="connsiteY74" fmla="*/ 6652450 h 6857998"/>
              <a:gd name="connsiteX75" fmla="*/ 1628746 w 9143998"/>
              <a:gd name="connsiteY75" fmla="*/ 6652450 h 6857998"/>
              <a:gd name="connsiteX76" fmla="*/ 1624385 w 9143998"/>
              <a:gd name="connsiteY76" fmla="*/ 6651494 h 6857998"/>
              <a:gd name="connsiteX77" fmla="*/ 1622769 w 9143998"/>
              <a:gd name="connsiteY77" fmla="*/ 6643839 h 6857998"/>
              <a:gd name="connsiteX78" fmla="*/ 1622769 w 9143998"/>
              <a:gd name="connsiteY78" fmla="*/ 6607638 h 6857998"/>
              <a:gd name="connsiteX79" fmla="*/ 1593054 w 9143998"/>
              <a:gd name="connsiteY79" fmla="*/ 6567290 h 6857998"/>
              <a:gd name="connsiteX80" fmla="*/ 1568505 w 9143998"/>
              <a:gd name="connsiteY80" fmla="*/ 6577975 h 6857998"/>
              <a:gd name="connsiteX81" fmla="*/ 1547995 w 9143998"/>
              <a:gd name="connsiteY81" fmla="*/ 6567290 h 6857998"/>
              <a:gd name="connsiteX82" fmla="*/ 2137122 w 9143998"/>
              <a:gd name="connsiteY82" fmla="*/ 6565683 h 6857998"/>
              <a:gd name="connsiteX83" fmla="*/ 2098073 w 9143998"/>
              <a:gd name="connsiteY83" fmla="*/ 6615819 h 6857998"/>
              <a:gd name="connsiteX84" fmla="*/ 2110613 w 9143998"/>
              <a:gd name="connsiteY84" fmla="*/ 6659669 h 6857998"/>
              <a:gd name="connsiteX85" fmla="*/ 2141249 w 9143998"/>
              <a:gd name="connsiteY85" fmla="*/ 6671759 h 6857998"/>
              <a:gd name="connsiteX86" fmla="*/ 2167441 w 9143998"/>
              <a:gd name="connsiteY86" fmla="*/ 6664344 h 6857998"/>
              <a:gd name="connsiteX87" fmla="*/ 2172361 w 9143998"/>
              <a:gd name="connsiteY87" fmla="*/ 6652736 h 6857998"/>
              <a:gd name="connsiteX88" fmla="*/ 2168869 w 9143998"/>
              <a:gd name="connsiteY88" fmla="*/ 6645160 h 6857998"/>
              <a:gd name="connsiteX89" fmla="*/ 2163155 w 9143998"/>
              <a:gd name="connsiteY89" fmla="*/ 6647578 h 6857998"/>
              <a:gd name="connsiteX90" fmla="*/ 2143471 w 9143998"/>
              <a:gd name="connsiteY90" fmla="*/ 6651286 h 6857998"/>
              <a:gd name="connsiteX91" fmla="*/ 2122042 w 9143998"/>
              <a:gd name="connsiteY91" fmla="*/ 6629845 h 6857998"/>
              <a:gd name="connsiteX92" fmla="*/ 2137915 w 9143998"/>
              <a:gd name="connsiteY92" fmla="*/ 6630812 h 6857998"/>
              <a:gd name="connsiteX93" fmla="*/ 2174742 w 9143998"/>
              <a:gd name="connsiteY93" fmla="*/ 6600021 h 6857998"/>
              <a:gd name="connsiteX94" fmla="*/ 2167441 w 9143998"/>
              <a:gd name="connsiteY94" fmla="*/ 6576323 h 6857998"/>
              <a:gd name="connsiteX95" fmla="*/ 2137122 w 9143998"/>
              <a:gd name="connsiteY95" fmla="*/ 6565683 h 6857998"/>
              <a:gd name="connsiteX96" fmla="*/ 1999798 w 9143998"/>
              <a:gd name="connsiteY96" fmla="*/ 6565683 h 6857998"/>
              <a:gd name="connsiteX97" fmla="*/ 1959855 w 9143998"/>
              <a:gd name="connsiteY97" fmla="*/ 6615819 h 6857998"/>
              <a:gd name="connsiteX98" fmla="*/ 1972792 w 9143998"/>
              <a:gd name="connsiteY98" fmla="*/ 6659669 h 6857998"/>
              <a:gd name="connsiteX99" fmla="*/ 2004003 w 9143998"/>
              <a:gd name="connsiteY99" fmla="*/ 6671759 h 6857998"/>
              <a:gd name="connsiteX100" fmla="*/ 2030686 w 9143998"/>
              <a:gd name="connsiteY100" fmla="*/ 6664344 h 6857998"/>
              <a:gd name="connsiteX101" fmla="*/ 2035538 w 9143998"/>
              <a:gd name="connsiteY101" fmla="*/ 6652736 h 6857998"/>
              <a:gd name="connsiteX102" fmla="*/ 2031979 w 9143998"/>
              <a:gd name="connsiteY102" fmla="*/ 6645160 h 6857998"/>
              <a:gd name="connsiteX103" fmla="*/ 2026319 w 9143998"/>
              <a:gd name="connsiteY103" fmla="*/ 6647578 h 6857998"/>
              <a:gd name="connsiteX104" fmla="*/ 2006267 w 9143998"/>
              <a:gd name="connsiteY104" fmla="*/ 6651286 h 6857998"/>
              <a:gd name="connsiteX105" fmla="*/ 1984436 w 9143998"/>
              <a:gd name="connsiteY105" fmla="*/ 6629845 h 6857998"/>
              <a:gd name="connsiteX106" fmla="*/ 2000607 w 9143998"/>
              <a:gd name="connsiteY106" fmla="*/ 6630812 h 6857998"/>
              <a:gd name="connsiteX107" fmla="*/ 2037963 w 9143998"/>
              <a:gd name="connsiteY107" fmla="*/ 6600021 h 6857998"/>
              <a:gd name="connsiteX108" fmla="*/ 2030686 w 9143998"/>
              <a:gd name="connsiteY108" fmla="*/ 6576323 h 6857998"/>
              <a:gd name="connsiteX109" fmla="*/ 1999798 w 9143998"/>
              <a:gd name="connsiteY109" fmla="*/ 6565683 h 6857998"/>
              <a:gd name="connsiteX110" fmla="*/ 1878850 w 9143998"/>
              <a:gd name="connsiteY110" fmla="*/ 6565683 h 6857998"/>
              <a:gd name="connsiteX111" fmla="*/ 1861974 w 9143998"/>
              <a:gd name="connsiteY111" fmla="*/ 6574028 h 6857998"/>
              <a:gd name="connsiteX112" fmla="*/ 1851687 w 9143998"/>
              <a:gd name="connsiteY112" fmla="*/ 6567288 h 6857998"/>
              <a:gd name="connsiteX113" fmla="*/ 1837383 w 9143998"/>
              <a:gd name="connsiteY113" fmla="*/ 6569695 h 6857998"/>
              <a:gd name="connsiteX114" fmla="*/ 1839312 w 9143998"/>
              <a:gd name="connsiteY114" fmla="*/ 6582694 h 6857998"/>
              <a:gd name="connsiteX115" fmla="*/ 1839312 w 9143998"/>
              <a:gd name="connsiteY115" fmla="*/ 6660042 h 6857998"/>
              <a:gd name="connsiteX116" fmla="*/ 1850402 w 9143998"/>
              <a:gd name="connsiteY116" fmla="*/ 6670152 h 6857998"/>
              <a:gd name="connsiteX117" fmla="*/ 1863902 w 9143998"/>
              <a:gd name="connsiteY117" fmla="*/ 6667585 h 6857998"/>
              <a:gd name="connsiteX118" fmla="*/ 1863902 w 9143998"/>
              <a:gd name="connsiteY118" fmla="*/ 6607888 h 6857998"/>
              <a:gd name="connsiteX119" fmla="*/ 1880296 w 9143998"/>
              <a:gd name="connsiteY119" fmla="*/ 6588792 h 6857998"/>
              <a:gd name="connsiteX120" fmla="*/ 1887207 w 9143998"/>
              <a:gd name="connsiteY120" fmla="*/ 6590396 h 6857998"/>
              <a:gd name="connsiteX121" fmla="*/ 1891064 w 9143998"/>
              <a:gd name="connsiteY121" fmla="*/ 6592322 h 6857998"/>
              <a:gd name="connsiteX122" fmla="*/ 1895243 w 9143998"/>
              <a:gd name="connsiteY122" fmla="*/ 6580928 h 6857998"/>
              <a:gd name="connsiteX123" fmla="*/ 1878850 w 9143998"/>
              <a:gd name="connsiteY123" fmla="*/ 6565683 h 6857998"/>
              <a:gd name="connsiteX124" fmla="*/ 1781935 w 9143998"/>
              <a:gd name="connsiteY124" fmla="*/ 6565683 h 6857998"/>
              <a:gd name="connsiteX125" fmla="*/ 1739344 w 9143998"/>
              <a:gd name="connsiteY125" fmla="*/ 6618721 h 6857998"/>
              <a:gd name="connsiteX126" fmla="*/ 1781935 w 9143998"/>
              <a:gd name="connsiteY126" fmla="*/ 6671759 h 6857998"/>
              <a:gd name="connsiteX127" fmla="*/ 1824526 w 9143998"/>
              <a:gd name="connsiteY127" fmla="*/ 6618721 h 6857998"/>
              <a:gd name="connsiteX128" fmla="*/ 1781935 w 9143998"/>
              <a:gd name="connsiteY128" fmla="*/ 6565683 h 6857998"/>
              <a:gd name="connsiteX129" fmla="*/ 1683895 w 9143998"/>
              <a:gd name="connsiteY129" fmla="*/ 6565683 h 6857998"/>
              <a:gd name="connsiteX130" fmla="*/ 1641304 w 9143998"/>
              <a:gd name="connsiteY130" fmla="*/ 6618721 h 6857998"/>
              <a:gd name="connsiteX131" fmla="*/ 1683895 w 9143998"/>
              <a:gd name="connsiteY131" fmla="*/ 6671759 h 6857998"/>
              <a:gd name="connsiteX132" fmla="*/ 1726486 w 9143998"/>
              <a:gd name="connsiteY132" fmla="*/ 6618721 h 6857998"/>
              <a:gd name="connsiteX133" fmla="*/ 1683895 w 9143998"/>
              <a:gd name="connsiteY133" fmla="*/ 6565683 h 6857998"/>
              <a:gd name="connsiteX134" fmla="*/ 1449234 w 9143998"/>
              <a:gd name="connsiteY134" fmla="*/ 6565683 h 6857998"/>
              <a:gd name="connsiteX135" fmla="*/ 1410185 w 9143998"/>
              <a:gd name="connsiteY135" fmla="*/ 6615819 h 6857998"/>
              <a:gd name="connsiteX136" fmla="*/ 1422726 w 9143998"/>
              <a:gd name="connsiteY136" fmla="*/ 6659669 h 6857998"/>
              <a:gd name="connsiteX137" fmla="*/ 1453362 w 9143998"/>
              <a:gd name="connsiteY137" fmla="*/ 6671759 h 6857998"/>
              <a:gd name="connsiteX138" fmla="*/ 1479553 w 9143998"/>
              <a:gd name="connsiteY138" fmla="*/ 6664344 h 6857998"/>
              <a:gd name="connsiteX139" fmla="*/ 1484474 w 9143998"/>
              <a:gd name="connsiteY139" fmla="*/ 6652736 h 6857998"/>
              <a:gd name="connsiteX140" fmla="*/ 1480981 w 9143998"/>
              <a:gd name="connsiteY140" fmla="*/ 6645160 h 6857998"/>
              <a:gd name="connsiteX141" fmla="*/ 1475268 w 9143998"/>
              <a:gd name="connsiteY141" fmla="*/ 6647578 h 6857998"/>
              <a:gd name="connsiteX142" fmla="*/ 1455584 w 9143998"/>
              <a:gd name="connsiteY142" fmla="*/ 6651286 h 6857998"/>
              <a:gd name="connsiteX143" fmla="*/ 1434155 w 9143998"/>
              <a:gd name="connsiteY143" fmla="*/ 6629845 h 6857998"/>
              <a:gd name="connsiteX144" fmla="*/ 1450027 w 9143998"/>
              <a:gd name="connsiteY144" fmla="*/ 6630812 h 6857998"/>
              <a:gd name="connsiteX145" fmla="*/ 1486855 w 9143998"/>
              <a:gd name="connsiteY145" fmla="*/ 6600021 h 6857998"/>
              <a:gd name="connsiteX146" fmla="*/ 1479553 w 9143998"/>
              <a:gd name="connsiteY146" fmla="*/ 6576323 h 6857998"/>
              <a:gd name="connsiteX147" fmla="*/ 1449234 w 9143998"/>
              <a:gd name="connsiteY147" fmla="*/ 6565683 h 6857998"/>
              <a:gd name="connsiteX148" fmla="*/ 1260323 w 9143998"/>
              <a:gd name="connsiteY148" fmla="*/ 6565683 h 6857998"/>
              <a:gd name="connsiteX149" fmla="*/ 1237358 w 9143998"/>
              <a:gd name="connsiteY149" fmla="*/ 6576435 h 6857998"/>
              <a:gd name="connsiteX150" fmla="*/ 1226589 w 9143998"/>
              <a:gd name="connsiteY150" fmla="*/ 6566967 h 6857998"/>
              <a:gd name="connsiteX151" fmla="*/ 1212176 w 9143998"/>
              <a:gd name="connsiteY151" fmla="*/ 6569374 h 6857998"/>
              <a:gd name="connsiteX152" fmla="*/ 1214077 w 9143998"/>
              <a:gd name="connsiteY152" fmla="*/ 6582373 h 6857998"/>
              <a:gd name="connsiteX153" fmla="*/ 1214077 w 9143998"/>
              <a:gd name="connsiteY153" fmla="*/ 6591841 h 6857998"/>
              <a:gd name="connsiteX154" fmla="*/ 1214077 w 9143998"/>
              <a:gd name="connsiteY154" fmla="*/ 6659561 h 6857998"/>
              <a:gd name="connsiteX155" fmla="*/ 1224847 w 9143998"/>
              <a:gd name="connsiteY155" fmla="*/ 6669831 h 6857998"/>
              <a:gd name="connsiteX156" fmla="*/ 1238150 w 9143998"/>
              <a:gd name="connsiteY156" fmla="*/ 6667103 h 6857998"/>
              <a:gd name="connsiteX157" fmla="*/ 1238150 w 9143998"/>
              <a:gd name="connsiteY157" fmla="*/ 6648649 h 6857998"/>
              <a:gd name="connsiteX158" fmla="*/ 1238150 w 9143998"/>
              <a:gd name="connsiteY158" fmla="*/ 6599383 h 6857998"/>
              <a:gd name="connsiteX159" fmla="*/ 1252404 w 9143998"/>
              <a:gd name="connsiteY159" fmla="*/ 6586866 h 6857998"/>
              <a:gd name="connsiteX160" fmla="*/ 1264599 w 9143998"/>
              <a:gd name="connsiteY160" fmla="*/ 6604518 h 6857998"/>
              <a:gd name="connsiteX161" fmla="*/ 1264599 w 9143998"/>
              <a:gd name="connsiteY161" fmla="*/ 6646402 h 6857998"/>
              <a:gd name="connsiteX162" fmla="*/ 1269033 w 9143998"/>
              <a:gd name="connsiteY162" fmla="*/ 6664696 h 6857998"/>
              <a:gd name="connsiteX163" fmla="*/ 1282179 w 9143998"/>
              <a:gd name="connsiteY163" fmla="*/ 6670152 h 6857998"/>
              <a:gd name="connsiteX164" fmla="*/ 1298966 w 9143998"/>
              <a:gd name="connsiteY164" fmla="*/ 6657796 h 6857998"/>
              <a:gd name="connsiteX165" fmla="*/ 1297699 w 9143998"/>
              <a:gd name="connsiteY165" fmla="*/ 6652340 h 6857998"/>
              <a:gd name="connsiteX166" fmla="*/ 1294532 w 9143998"/>
              <a:gd name="connsiteY166" fmla="*/ 6652340 h 6857998"/>
              <a:gd name="connsiteX167" fmla="*/ 1290098 w 9143998"/>
              <a:gd name="connsiteY167" fmla="*/ 6651377 h 6857998"/>
              <a:gd name="connsiteX168" fmla="*/ 1288672 w 9143998"/>
              <a:gd name="connsiteY168" fmla="*/ 6643674 h 6857998"/>
              <a:gd name="connsiteX169" fmla="*/ 1288672 w 9143998"/>
              <a:gd name="connsiteY169" fmla="*/ 6609814 h 6857998"/>
              <a:gd name="connsiteX170" fmla="*/ 1260323 w 9143998"/>
              <a:gd name="connsiteY170" fmla="*/ 6565683 h 6857998"/>
              <a:gd name="connsiteX171" fmla="*/ 1143227 w 9143998"/>
              <a:gd name="connsiteY171" fmla="*/ 6565683 h 6857998"/>
              <a:gd name="connsiteX172" fmla="*/ 1119118 w 9143998"/>
              <a:gd name="connsiteY172" fmla="*/ 6575577 h 6857998"/>
              <a:gd name="connsiteX173" fmla="*/ 1106261 w 9143998"/>
              <a:gd name="connsiteY173" fmla="*/ 6616288 h 6857998"/>
              <a:gd name="connsiteX174" fmla="*/ 1119279 w 9143998"/>
              <a:gd name="connsiteY174" fmla="*/ 6662676 h 6857998"/>
              <a:gd name="connsiteX175" fmla="*/ 1140494 w 9143998"/>
              <a:gd name="connsiteY175" fmla="*/ 6671759 h 6857998"/>
              <a:gd name="connsiteX176" fmla="*/ 1164281 w 9143998"/>
              <a:gd name="connsiteY176" fmla="*/ 6659108 h 6857998"/>
              <a:gd name="connsiteX177" fmla="*/ 1167817 w 9143998"/>
              <a:gd name="connsiteY177" fmla="*/ 6665920 h 6857998"/>
              <a:gd name="connsiteX178" fmla="*/ 1180835 w 9143998"/>
              <a:gd name="connsiteY178" fmla="*/ 6671597 h 6857998"/>
              <a:gd name="connsiteX179" fmla="*/ 1197711 w 9143998"/>
              <a:gd name="connsiteY179" fmla="*/ 6659108 h 6857998"/>
              <a:gd name="connsiteX180" fmla="*/ 1196586 w 9143998"/>
              <a:gd name="connsiteY180" fmla="*/ 6653593 h 6857998"/>
              <a:gd name="connsiteX181" fmla="*/ 1193211 w 9143998"/>
              <a:gd name="connsiteY181" fmla="*/ 6653593 h 6857998"/>
              <a:gd name="connsiteX182" fmla="*/ 1188871 w 9143998"/>
              <a:gd name="connsiteY182" fmla="*/ 6652620 h 6857998"/>
              <a:gd name="connsiteX183" fmla="*/ 1187264 w 9143998"/>
              <a:gd name="connsiteY183" fmla="*/ 6644835 h 6857998"/>
              <a:gd name="connsiteX184" fmla="*/ 1187425 w 9143998"/>
              <a:gd name="connsiteY184" fmla="*/ 6567954 h 6857998"/>
              <a:gd name="connsiteX185" fmla="*/ 1174889 w 9143998"/>
              <a:gd name="connsiteY185" fmla="*/ 6567954 h 6857998"/>
              <a:gd name="connsiteX186" fmla="*/ 1164603 w 9143998"/>
              <a:gd name="connsiteY186" fmla="*/ 6576875 h 6857998"/>
              <a:gd name="connsiteX187" fmla="*/ 1143227 w 9143998"/>
              <a:gd name="connsiteY187" fmla="*/ 6565683 h 6857998"/>
              <a:gd name="connsiteX188" fmla="*/ 1918499 w 9143998"/>
              <a:gd name="connsiteY188" fmla="*/ 6544789 h 6857998"/>
              <a:gd name="connsiteX189" fmla="*/ 1903279 w 9143998"/>
              <a:gd name="connsiteY189" fmla="*/ 6547225 h 6857998"/>
              <a:gd name="connsiteX190" fmla="*/ 1905202 w 9143998"/>
              <a:gd name="connsiteY190" fmla="*/ 6558428 h 6857998"/>
              <a:gd name="connsiteX191" fmla="*/ 1905202 w 9143998"/>
              <a:gd name="connsiteY191" fmla="*/ 6641234 h 6857998"/>
              <a:gd name="connsiteX192" fmla="*/ 1930194 w 9143998"/>
              <a:gd name="connsiteY192" fmla="*/ 6671759 h 6857998"/>
              <a:gd name="connsiteX193" fmla="*/ 1951982 w 9143998"/>
              <a:gd name="connsiteY193" fmla="*/ 6655198 h 6857998"/>
              <a:gd name="connsiteX194" fmla="*/ 1948457 w 9143998"/>
              <a:gd name="connsiteY194" fmla="*/ 6647242 h 6857998"/>
              <a:gd name="connsiteX195" fmla="*/ 1944452 w 9143998"/>
              <a:gd name="connsiteY195" fmla="*/ 6649028 h 6857998"/>
              <a:gd name="connsiteX196" fmla="*/ 1937083 w 9143998"/>
              <a:gd name="connsiteY196" fmla="*/ 6650652 h 6857998"/>
              <a:gd name="connsiteX197" fmla="*/ 1929553 w 9143998"/>
              <a:gd name="connsiteY197" fmla="*/ 6639124 h 6857998"/>
              <a:gd name="connsiteX198" fmla="*/ 1929553 w 9143998"/>
              <a:gd name="connsiteY198" fmla="*/ 6588628 h 6857998"/>
              <a:gd name="connsiteX199" fmla="*/ 1942049 w 9143998"/>
              <a:gd name="connsiteY199" fmla="*/ 6588628 h 6857998"/>
              <a:gd name="connsiteX200" fmla="*/ 1951822 w 9143998"/>
              <a:gd name="connsiteY200" fmla="*/ 6576126 h 6857998"/>
              <a:gd name="connsiteX201" fmla="*/ 1949098 w 9143998"/>
              <a:gd name="connsiteY201" fmla="*/ 6568170 h 6857998"/>
              <a:gd name="connsiteX202" fmla="*/ 1929713 w 9143998"/>
              <a:gd name="connsiteY202" fmla="*/ 6568170 h 6857998"/>
              <a:gd name="connsiteX203" fmla="*/ 1929713 w 9143998"/>
              <a:gd name="connsiteY203" fmla="*/ 6555018 h 6857998"/>
              <a:gd name="connsiteX204" fmla="*/ 1918499 w 9143998"/>
              <a:gd name="connsiteY204" fmla="*/ 6544789 h 6857998"/>
              <a:gd name="connsiteX205" fmla="*/ 2066345 w 9143998"/>
              <a:gd name="connsiteY205" fmla="*/ 6525502 h 6857998"/>
              <a:gd name="connsiteX206" fmla="*/ 2051142 w 9143998"/>
              <a:gd name="connsiteY206" fmla="*/ 6527921 h 6857998"/>
              <a:gd name="connsiteX207" fmla="*/ 2053223 w 9143998"/>
              <a:gd name="connsiteY207" fmla="*/ 6540983 h 6857998"/>
              <a:gd name="connsiteX208" fmla="*/ 2053223 w 9143998"/>
              <a:gd name="connsiteY208" fmla="*/ 6647894 h 6857998"/>
              <a:gd name="connsiteX209" fmla="*/ 2057703 w 9143998"/>
              <a:gd name="connsiteY209" fmla="*/ 6666277 h 6857998"/>
              <a:gd name="connsiteX210" fmla="*/ 2071145 w 9143998"/>
              <a:gd name="connsiteY210" fmla="*/ 6671759 h 6857998"/>
              <a:gd name="connsiteX211" fmla="*/ 2088108 w 9143998"/>
              <a:gd name="connsiteY211" fmla="*/ 6659343 h 6857998"/>
              <a:gd name="connsiteX212" fmla="*/ 2086988 w 9143998"/>
              <a:gd name="connsiteY212" fmla="*/ 6653860 h 6857998"/>
              <a:gd name="connsiteX213" fmla="*/ 2083628 w 9143998"/>
              <a:gd name="connsiteY213" fmla="*/ 6653860 h 6857998"/>
              <a:gd name="connsiteX214" fmla="*/ 2079147 w 9143998"/>
              <a:gd name="connsiteY214" fmla="*/ 6652893 h 6857998"/>
              <a:gd name="connsiteX215" fmla="*/ 2077707 w 9143998"/>
              <a:gd name="connsiteY215" fmla="*/ 6645152 h 6857998"/>
              <a:gd name="connsiteX216" fmla="*/ 2077707 w 9143998"/>
              <a:gd name="connsiteY216" fmla="*/ 6535822 h 6857998"/>
              <a:gd name="connsiteX217" fmla="*/ 2077226 w 9143998"/>
              <a:gd name="connsiteY217" fmla="*/ 6531952 h 6857998"/>
              <a:gd name="connsiteX218" fmla="*/ 2066345 w 9143998"/>
              <a:gd name="connsiteY218" fmla="*/ 6525502 h 6857998"/>
              <a:gd name="connsiteX219" fmla="*/ 1380115 w 9143998"/>
              <a:gd name="connsiteY219" fmla="*/ 6525502 h 6857998"/>
              <a:gd name="connsiteX220" fmla="*/ 1365259 w 9143998"/>
              <a:gd name="connsiteY220" fmla="*/ 6527916 h 6857998"/>
              <a:gd name="connsiteX221" fmla="*/ 1367219 w 9143998"/>
              <a:gd name="connsiteY221" fmla="*/ 6541109 h 6857998"/>
              <a:gd name="connsiteX222" fmla="*/ 1367219 w 9143998"/>
              <a:gd name="connsiteY222" fmla="*/ 6576024 h 6857998"/>
              <a:gd name="connsiteX223" fmla="*/ 1346486 w 9143998"/>
              <a:gd name="connsiteY223" fmla="*/ 6566531 h 6857998"/>
              <a:gd name="connsiteX224" fmla="*/ 1321997 w 9143998"/>
              <a:gd name="connsiteY224" fmla="*/ 6576346 h 6857998"/>
              <a:gd name="connsiteX225" fmla="*/ 1308773 w 9143998"/>
              <a:gd name="connsiteY225" fmla="*/ 6616732 h 6857998"/>
              <a:gd name="connsiteX226" fmla="*/ 1322159 w 9143998"/>
              <a:gd name="connsiteY226" fmla="*/ 6662588 h 6857998"/>
              <a:gd name="connsiteX227" fmla="*/ 1343546 w 9143998"/>
              <a:gd name="connsiteY227" fmla="*/ 6671759 h 6857998"/>
              <a:gd name="connsiteX228" fmla="*/ 1367707 w 9143998"/>
              <a:gd name="connsiteY228" fmla="*/ 6659048 h 6857998"/>
              <a:gd name="connsiteX229" fmla="*/ 1371463 w 9143998"/>
              <a:gd name="connsiteY229" fmla="*/ 6665967 h 6857998"/>
              <a:gd name="connsiteX230" fmla="*/ 1384686 w 9143998"/>
              <a:gd name="connsiteY230" fmla="*/ 6671437 h 6857998"/>
              <a:gd name="connsiteX231" fmla="*/ 1401828 w 9143998"/>
              <a:gd name="connsiteY231" fmla="*/ 6659048 h 6857998"/>
              <a:gd name="connsiteX232" fmla="*/ 1400684 w 9143998"/>
              <a:gd name="connsiteY232" fmla="*/ 6653578 h 6857998"/>
              <a:gd name="connsiteX233" fmla="*/ 1397257 w 9143998"/>
              <a:gd name="connsiteY233" fmla="*/ 6653578 h 6857998"/>
              <a:gd name="connsiteX234" fmla="*/ 1392849 w 9143998"/>
              <a:gd name="connsiteY234" fmla="*/ 6652612 h 6857998"/>
              <a:gd name="connsiteX235" fmla="*/ 1391217 w 9143998"/>
              <a:gd name="connsiteY235" fmla="*/ 6644889 h 6857998"/>
              <a:gd name="connsiteX236" fmla="*/ 1391217 w 9143998"/>
              <a:gd name="connsiteY236" fmla="*/ 6535639 h 6857998"/>
              <a:gd name="connsiteX237" fmla="*/ 1380115 w 9143998"/>
              <a:gd name="connsiteY237" fmla="*/ 6525502 h 6857998"/>
              <a:gd name="connsiteX238" fmla="*/ 939592 w 9143998"/>
              <a:gd name="connsiteY238" fmla="*/ 6525502 h 6857998"/>
              <a:gd name="connsiteX239" fmla="*/ 882857 w 9143998"/>
              <a:gd name="connsiteY239" fmla="*/ 6580222 h 6857998"/>
              <a:gd name="connsiteX240" fmla="*/ 891858 w 9143998"/>
              <a:gd name="connsiteY240" fmla="*/ 6658901 h 6857998"/>
              <a:gd name="connsiteX241" fmla="*/ 948592 w 9143998"/>
              <a:gd name="connsiteY241" fmla="*/ 6604020 h 6857998"/>
              <a:gd name="connsiteX242" fmla="*/ 939592 w 9143998"/>
              <a:gd name="connsiteY242" fmla="*/ 6525502 h 6857998"/>
              <a:gd name="connsiteX243" fmla="*/ 1093886 w 9143998"/>
              <a:gd name="connsiteY243" fmla="*/ 6523895 h 6857998"/>
              <a:gd name="connsiteX244" fmla="*/ 1080224 w 9143998"/>
              <a:gd name="connsiteY244" fmla="*/ 6525671 h 6857998"/>
              <a:gd name="connsiteX245" fmla="*/ 1063510 w 9143998"/>
              <a:gd name="connsiteY245" fmla="*/ 6597024 h 6857998"/>
              <a:gd name="connsiteX246" fmla="*/ 1055313 w 9143998"/>
              <a:gd name="connsiteY246" fmla="*/ 6636736 h 6857998"/>
              <a:gd name="connsiteX247" fmla="*/ 1047116 w 9143998"/>
              <a:gd name="connsiteY247" fmla="*/ 6596701 h 6857998"/>
              <a:gd name="connsiteX248" fmla="*/ 1032811 w 9143998"/>
              <a:gd name="connsiteY248" fmla="*/ 6535357 h 6857998"/>
              <a:gd name="connsiteX249" fmla="*/ 1019472 w 9143998"/>
              <a:gd name="connsiteY249" fmla="*/ 6524218 h 6857998"/>
              <a:gd name="connsiteX250" fmla="*/ 1001632 w 9143998"/>
              <a:gd name="connsiteY250" fmla="*/ 6529868 h 6857998"/>
              <a:gd name="connsiteX251" fmla="*/ 1007418 w 9143998"/>
              <a:gd name="connsiteY251" fmla="*/ 6543267 h 6857998"/>
              <a:gd name="connsiteX252" fmla="*/ 1037151 w 9143998"/>
              <a:gd name="connsiteY252" fmla="*/ 6657238 h 6857998"/>
              <a:gd name="connsiteX253" fmla="*/ 1049688 w 9143998"/>
              <a:gd name="connsiteY253" fmla="*/ 6670152 h 6857998"/>
              <a:gd name="connsiteX254" fmla="*/ 1069777 w 9143998"/>
              <a:gd name="connsiteY254" fmla="*/ 6666278 h 6857998"/>
              <a:gd name="connsiteX255" fmla="*/ 1103529 w 9143998"/>
              <a:gd name="connsiteY255" fmla="*/ 6536971 h 6857998"/>
              <a:gd name="connsiteX256" fmla="*/ 1093886 w 9143998"/>
              <a:gd name="connsiteY256" fmla="*/ 6523895 h 6857998"/>
              <a:gd name="connsiteX257" fmla="*/ 751551 w 9143998"/>
              <a:gd name="connsiteY257" fmla="*/ 6511583 h 6857998"/>
              <a:gd name="connsiteX258" fmla="*/ 773932 w 9143998"/>
              <a:gd name="connsiteY258" fmla="*/ 6572221 h 6857998"/>
              <a:gd name="connsiteX259" fmla="*/ 835440 w 9143998"/>
              <a:gd name="connsiteY259" fmla="*/ 6591017 h 6857998"/>
              <a:gd name="connsiteX260" fmla="*/ 813059 w 9143998"/>
              <a:gd name="connsiteY260" fmla="*/ 6530215 h 6857998"/>
              <a:gd name="connsiteX261" fmla="*/ 751551 w 9143998"/>
              <a:gd name="connsiteY261" fmla="*/ 6511583 h 6857998"/>
              <a:gd name="connsiteX262" fmla="*/ 883972 w 9143998"/>
              <a:gd name="connsiteY262" fmla="*/ 6454785 h 6857998"/>
              <a:gd name="connsiteX263" fmla="*/ 848586 w 9143998"/>
              <a:gd name="connsiteY263" fmla="*/ 6499127 h 6857998"/>
              <a:gd name="connsiteX264" fmla="*/ 862135 w 9143998"/>
              <a:gd name="connsiteY264" fmla="*/ 6554432 h 6857998"/>
              <a:gd name="connsiteX265" fmla="*/ 897520 w 9143998"/>
              <a:gd name="connsiteY265" fmla="*/ 6510091 h 6857998"/>
              <a:gd name="connsiteX266" fmla="*/ 883972 w 9143998"/>
              <a:gd name="connsiteY266" fmla="*/ 6454785 h 6857998"/>
              <a:gd name="connsiteX267" fmla="*/ 0 w 9143998"/>
              <a:gd name="connsiteY267" fmla="*/ 0 h 6857998"/>
              <a:gd name="connsiteX268" fmla="*/ 9143998 w 9143998"/>
              <a:gd name="connsiteY268" fmla="*/ 0 h 6857998"/>
              <a:gd name="connsiteX269" fmla="*/ 9143998 w 9143998"/>
              <a:gd name="connsiteY269" fmla="*/ 6857998 h 6857998"/>
              <a:gd name="connsiteX270" fmla="*/ 0 w 9143998"/>
              <a:gd name="connsiteY270"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Lst>
            <a:rect l="l" t="t" r="r" b="b"/>
            <a:pathLst>
              <a:path w="9143998" h="6857998">
                <a:moveTo>
                  <a:pt x="797599" y="6612261"/>
                </a:moveTo>
                <a:cubicBezTo>
                  <a:pt x="782208" y="6609243"/>
                  <a:pt x="766376" y="6609806"/>
                  <a:pt x="751385" y="6613749"/>
                </a:cubicBezTo>
                <a:cubicBezTo>
                  <a:pt x="750905" y="6645133"/>
                  <a:pt x="764532" y="6676034"/>
                  <a:pt x="790986" y="6696796"/>
                </a:cubicBezTo>
                <a:cubicBezTo>
                  <a:pt x="817279" y="6717557"/>
                  <a:pt x="850627" y="6723190"/>
                  <a:pt x="880768" y="6715304"/>
                </a:cubicBezTo>
                <a:cubicBezTo>
                  <a:pt x="881089" y="6684081"/>
                  <a:pt x="867461" y="6653019"/>
                  <a:pt x="841168" y="6632258"/>
                </a:cubicBezTo>
                <a:cubicBezTo>
                  <a:pt x="827941" y="6621877"/>
                  <a:pt x="812990" y="6615278"/>
                  <a:pt x="797599" y="6612261"/>
                </a:cubicBezTo>
                <a:close/>
                <a:moveTo>
                  <a:pt x="1782094" y="6586577"/>
                </a:moveTo>
                <a:cubicBezTo>
                  <a:pt x="1795786" y="6586577"/>
                  <a:pt x="1798811" y="6604559"/>
                  <a:pt x="1798811" y="6618563"/>
                </a:cubicBezTo>
                <a:cubicBezTo>
                  <a:pt x="1798811" y="6632884"/>
                  <a:pt x="1795786" y="6650866"/>
                  <a:pt x="1782094" y="6650866"/>
                </a:cubicBezTo>
                <a:cubicBezTo>
                  <a:pt x="1768402" y="6650866"/>
                  <a:pt x="1765059" y="6632884"/>
                  <a:pt x="1765059" y="6618563"/>
                </a:cubicBezTo>
                <a:cubicBezTo>
                  <a:pt x="1765059" y="6604559"/>
                  <a:pt x="1768402" y="6586577"/>
                  <a:pt x="1782094" y="6586577"/>
                </a:cubicBezTo>
                <a:close/>
                <a:moveTo>
                  <a:pt x="1684054" y="6586577"/>
                </a:moveTo>
                <a:cubicBezTo>
                  <a:pt x="1697746" y="6586577"/>
                  <a:pt x="1700771" y="6604559"/>
                  <a:pt x="1700771" y="6618563"/>
                </a:cubicBezTo>
                <a:cubicBezTo>
                  <a:pt x="1700771" y="6632884"/>
                  <a:pt x="1697746" y="6650866"/>
                  <a:pt x="1684054" y="6650866"/>
                </a:cubicBezTo>
                <a:cubicBezTo>
                  <a:pt x="1670203" y="6650866"/>
                  <a:pt x="1667019" y="6632884"/>
                  <a:pt x="1667019" y="6618563"/>
                </a:cubicBezTo>
                <a:cubicBezTo>
                  <a:pt x="1667019" y="6604559"/>
                  <a:pt x="1670203" y="6586577"/>
                  <a:pt x="1684054" y="6586577"/>
                </a:cubicBezTo>
                <a:close/>
                <a:moveTo>
                  <a:pt x="1350557" y="6586577"/>
                </a:moveTo>
                <a:cubicBezTo>
                  <a:pt x="1354737" y="6586577"/>
                  <a:pt x="1357790" y="6587873"/>
                  <a:pt x="1360363" y="6590464"/>
                </a:cubicBezTo>
                <a:cubicBezTo>
                  <a:pt x="1365826" y="6596455"/>
                  <a:pt x="1366470" y="6608925"/>
                  <a:pt x="1366308" y="6618479"/>
                </a:cubicBezTo>
                <a:cubicBezTo>
                  <a:pt x="1366308" y="6621556"/>
                  <a:pt x="1366308" y="6621556"/>
                  <a:pt x="1366308" y="6621556"/>
                </a:cubicBezTo>
                <a:cubicBezTo>
                  <a:pt x="1365987" y="6634511"/>
                  <a:pt x="1362773" y="6650866"/>
                  <a:pt x="1350397" y="6650866"/>
                </a:cubicBezTo>
                <a:cubicBezTo>
                  <a:pt x="1346861" y="6650866"/>
                  <a:pt x="1343968" y="6649571"/>
                  <a:pt x="1341557" y="6646980"/>
                </a:cubicBezTo>
                <a:cubicBezTo>
                  <a:pt x="1334968" y="6639855"/>
                  <a:pt x="1334325" y="6624471"/>
                  <a:pt x="1334325" y="6618479"/>
                </a:cubicBezTo>
                <a:cubicBezTo>
                  <a:pt x="1334325" y="6604228"/>
                  <a:pt x="1337218" y="6586577"/>
                  <a:pt x="1350557" y="6586577"/>
                </a:cubicBezTo>
                <a:close/>
                <a:moveTo>
                  <a:pt x="1148209" y="6586577"/>
                </a:moveTo>
                <a:cubicBezTo>
                  <a:pt x="1152227" y="6586577"/>
                  <a:pt x="1155441" y="6587873"/>
                  <a:pt x="1157852" y="6590464"/>
                </a:cubicBezTo>
                <a:cubicBezTo>
                  <a:pt x="1163316" y="6596293"/>
                  <a:pt x="1163959" y="6608763"/>
                  <a:pt x="1163959" y="6618317"/>
                </a:cubicBezTo>
                <a:cubicBezTo>
                  <a:pt x="1163959" y="6621394"/>
                  <a:pt x="1163959" y="6621394"/>
                  <a:pt x="1163959" y="6621394"/>
                </a:cubicBezTo>
                <a:cubicBezTo>
                  <a:pt x="1163477" y="6634511"/>
                  <a:pt x="1160423" y="6650866"/>
                  <a:pt x="1148048" y="6650866"/>
                </a:cubicBezTo>
                <a:cubicBezTo>
                  <a:pt x="1144512" y="6650866"/>
                  <a:pt x="1141619" y="6649571"/>
                  <a:pt x="1139208" y="6646980"/>
                </a:cubicBezTo>
                <a:cubicBezTo>
                  <a:pt x="1132458" y="6639693"/>
                  <a:pt x="1131815" y="6624309"/>
                  <a:pt x="1131815" y="6618317"/>
                </a:cubicBezTo>
                <a:cubicBezTo>
                  <a:pt x="1131976" y="6604228"/>
                  <a:pt x="1134869" y="6586577"/>
                  <a:pt x="1148209" y="6586577"/>
                </a:cubicBezTo>
                <a:close/>
                <a:moveTo>
                  <a:pt x="2139040" y="6583362"/>
                </a:moveTo>
                <a:cubicBezTo>
                  <a:pt x="2143494" y="6583362"/>
                  <a:pt x="2146833" y="6584695"/>
                  <a:pt x="2149060" y="6587193"/>
                </a:cubicBezTo>
                <a:cubicBezTo>
                  <a:pt x="2151446" y="6589858"/>
                  <a:pt x="2152400" y="6594521"/>
                  <a:pt x="2152241" y="6599518"/>
                </a:cubicBezTo>
                <a:cubicBezTo>
                  <a:pt x="2152082" y="6610010"/>
                  <a:pt x="2147470" y="6615340"/>
                  <a:pt x="2136495" y="6615340"/>
                </a:cubicBezTo>
                <a:cubicBezTo>
                  <a:pt x="2131088" y="6615506"/>
                  <a:pt x="2128225" y="6615340"/>
                  <a:pt x="2121863" y="6614674"/>
                </a:cubicBezTo>
                <a:cubicBezTo>
                  <a:pt x="2122340" y="6594188"/>
                  <a:pt x="2127748" y="6583362"/>
                  <a:pt x="2139040" y="6583362"/>
                </a:cubicBezTo>
                <a:close/>
                <a:moveTo>
                  <a:pt x="2001721" y="6583362"/>
                </a:moveTo>
                <a:cubicBezTo>
                  <a:pt x="2006409" y="6583362"/>
                  <a:pt x="2009924" y="6584695"/>
                  <a:pt x="2012268" y="6587193"/>
                </a:cubicBezTo>
                <a:cubicBezTo>
                  <a:pt x="2014612" y="6589858"/>
                  <a:pt x="2015784" y="6594521"/>
                  <a:pt x="2015617" y="6599518"/>
                </a:cubicBezTo>
                <a:cubicBezTo>
                  <a:pt x="2015449" y="6610010"/>
                  <a:pt x="2010427" y="6615340"/>
                  <a:pt x="1999042" y="6615340"/>
                </a:cubicBezTo>
                <a:cubicBezTo>
                  <a:pt x="1993183" y="6615506"/>
                  <a:pt x="1990169" y="6615340"/>
                  <a:pt x="1983641" y="6614674"/>
                </a:cubicBezTo>
                <a:cubicBezTo>
                  <a:pt x="1984142" y="6594188"/>
                  <a:pt x="1989668" y="6583362"/>
                  <a:pt x="2001721" y="6583362"/>
                </a:cubicBezTo>
                <a:close/>
                <a:moveTo>
                  <a:pt x="1451153" y="6583362"/>
                </a:moveTo>
                <a:cubicBezTo>
                  <a:pt x="1455606" y="6583362"/>
                  <a:pt x="1458946" y="6584695"/>
                  <a:pt x="1461173" y="6587193"/>
                </a:cubicBezTo>
                <a:cubicBezTo>
                  <a:pt x="1463399" y="6589858"/>
                  <a:pt x="1464512" y="6594521"/>
                  <a:pt x="1464354" y="6599518"/>
                </a:cubicBezTo>
                <a:cubicBezTo>
                  <a:pt x="1464195" y="6610010"/>
                  <a:pt x="1459583" y="6615340"/>
                  <a:pt x="1448608" y="6615340"/>
                </a:cubicBezTo>
                <a:cubicBezTo>
                  <a:pt x="1443200" y="6615506"/>
                  <a:pt x="1440337" y="6615340"/>
                  <a:pt x="1433976" y="6614674"/>
                </a:cubicBezTo>
                <a:cubicBezTo>
                  <a:pt x="1434453" y="6594188"/>
                  <a:pt x="1439861" y="6583362"/>
                  <a:pt x="1451153" y="6583362"/>
                </a:cubicBezTo>
                <a:close/>
                <a:moveTo>
                  <a:pt x="1547995" y="6567290"/>
                </a:moveTo>
                <a:cubicBezTo>
                  <a:pt x="1539921" y="6567290"/>
                  <a:pt x="1532491" y="6570958"/>
                  <a:pt x="1525708" y="6577975"/>
                </a:cubicBezTo>
                <a:cubicBezTo>
                  <a:pt x="1525708" y="6577656"/>
                  <a:pt x="1525708" y="6577656"/>
                  <a:pt x="1525708" y="6577656"/>
                </a:cubicBezTo>
                <a:cubicBezTo>
                  <a:pt x="1525708" y="6570161"/>
                  <a:pt x="1521187" y="6567609"/>
                  <a:pt x="1514726" y="6567609"/>
                </a:cubicBezTo>
                <a:cubicBezTo>
                  <a:pt x="1509235" y="6567609"/>
                  <a:pt x="1502613" y="6568566"/>
                  <a:pt x="1499868" y="6570001"/>
                </a:cubicBezTo>
                <a:cubicBezTo>
                  <a:pt x="1501321" y="6572553"/>
                  <a:pt x="1501806" y="6576859"/>
                  <a:pt x="1501806" y="6581165"/>
                </a:cubicBezTo>
                <a:cubicBezTo>
                  <a:pt x="1501806" y="6659786"/>
                  <a:pt x="1501806" y="6659786"/>
                  <a:pt x="1501806" y="6659786"/>
                </a:cubicBezTo>
                <a:cubicBezTo>
                  <a:pt x="1501806" y="6667282"/>
                  <a:pt x="1506490" y="6669833"/>
                  <a:pt x="1512949" y="6669833"/>
                </a:cubicBezTo>
                <a:cubicBezTo>
                  <a:pt x="1518440" y="6669833"/>
                  <a:pt x="1523770" y="6668717"/>
                  <a:pt x="1526354" y="6667282"/>
                </a:cubicBezTo>
                <a:cubicBezTo>
                  <a:pt x="1526354" y="6600621"/>
                  <a:pt x="1526354" y="6600621"/>
                  <a:pt x="1526354" y="6600621"/>
                </a:cubicBezTo>
                <a:cubicBezTo>
                  <a:pt x="1527808" y="6595358"/>
                  <a:pt x="1531683" y="6588182"/>
                  <a:pt x="1538951" y="6588182"/>
                </a:cubicBezTo>
                <a:cubicBezTo>
                  <a:pt x="1541858" y="6588182"/>
                  <a:pt x="1544280" y="6589138"/>
                  <a:pt x="1546057" y="6591052"/>
                </a:cubicBezTo>
                <a:cubicBezTo>
                  <a:pt x="1548641" y="6593923"/>
                  <a:pt x="1550095" y="6598866"/>
                  <a:pt x="1550095" y="6605564"/>
                </a:cubicBezTo>
                <a:cubicBezTo>
                  <a:pt x="1550095" y="6659786"/>
                  <a:pt x="1550095" y="6659786"/>
                  <a:pt x="1550095" y="6659786"/>
                </a:cubicBezTo>
                <a:cubicBezTo>
                  <a:pt x="1550095" y="6667282"/>
                  <a:pt x="1554778" y="6669833"/>
                  <a:pt x="1561238" y="6669833"/>
                </a:cubicBezTo>
                <a:cubicBezTo>
                  <a:pt x="1566891" y="6669833"/>
                  <a:pt x="1572058" y="6668717"/>
                  <a:pt x="1574804" y="6667282"/>
                </a:cubicBezTo>
                <a:cubicBezTo>
                  <a:pt x="1574804" y="6600621"/>
                  <a:pt x="1574804" y="6600621"/>
                  <a:pt x="1574804" y="6600621"/>
                </a:cubicBezTo>
                <a:cubicBezTo>
                  <a:pt x="1576257" y="6595358"/>
                  <a:pt x="1580133" y="6588182"/>
                  <a:pt x="1587401" y="6588182"/>
                </a:cubicBezTo>
                <a:cubicBezTo>
                  <a:pt x="1590308" y="6588182"/>
                  <a:pt x="1592730" y="6589138"/>
                  <a:pt x="1594507" y="6591052"/>
                </a:cubicBezTo>
                <a:cubicBezTo>
                  <a:pt x="1597091" y="6593923"/>
                  <a:pt x="1598545" y="6598866"/>
                  <a:pt x="1598383" y="6605564"/>
                </a:cubicBezTo>
                <a:cubicBezTo>
                  <a:pt x="1598383" y="6646550"/>
                  <a:pt x="1598383" y="6646550"/>
                  <a:pt x="1598383" y="6646550"/>
                </a:cubicBezTo>
                <a:cubicBezTo>
                  <a:pt x="1598383" y="6655002"/>
                  <a:pt x="1599836" y="6660903"/>
                  <a:pt x="1602905" y="6664730"/>
                </a:cubicBezTo>
                <a:cubicBezTo>
                  <a:pt x="1605812" y="6668398"/>
                  <a:pt x="1610334" y="6670152"/>
                  <a:pt x="1616309" y="6670152"/>
                </a:cubicBezTo>
                <a:cubicBezTo>
                  <a:pt x="1627130" y="6670152"/>
                  <a:pt x="1633267" y="6666325"/>
                  <a:pt x="1633267" y="6657873"/>
                </a:cubicBezTo>
                <a:cubicBezTo>
                  <a:pt x="1633267" y="6655959"/>
                  <a:pt x="1632621" y="6653248"/>
                  <a:pt x="1632137" y="6652450"/>
                </a:cubicBezTo>
                <a:cubicBezTo>
                  <a:pt x="1628746" y="6652450"/>
                  <a:pt x="1628746" y="6652450"/>
                  <a:pt x="1628746" y="6652450"/>
                </a:cubicBezTo>
                <a:cubicBezTo>
                  <a:pt x="1626484" y="6652450"/>
                  <a:pt x="1625192" y="6652291"/>
                  <a:pt x="1624385" y="6651494"/>
                </a:cubicBezTo>
                <a:cubicBezTo>
                  <a:pt x="1623254" y="6650377"/>
                  <a:pt x="1622769" y="6647985"/>
                  <a:pt x="1622769" y="6643839"/>
                </a:cubicBezTo>
                <a:cubicBezTo>
                  <a:pt x="1622769" y="6607638"/>
                  <a:pt x="1622769" y="6607638"/>
                  <a:pt x="1622769" y="6607638"/>
                </a:cubicBezTo>
                <a:cubicBezTo>
                  <a:pt x="1622769" y="6588820"/>
                  <a:pt x="1619378" y="6567290"/>
                  <a:pt x="1593054" y="6567290"/>
                </a:cubicBezTo>
                <a:cubicBezTo>
                  <a:pt x="1584332" y="6567290"/>
                  <a:pt x="1574804" y="6571118"/>
                  <a:pt x="1568505" y="6577975"/>
                </a:cubicBezTo>
                <a:cubicBezTo>
                  <a:pt x="1563984" y="6570799"/>
                  <a:pt x="1557362" y="6567290"/>
                  <a:pt x="1547995" y="6567290"/>
                </a:cubicBezTo>
                <a:close/>
                <a:moveTo>
                  <a:pt x="2137122" y="6565683"/>
                </a:moveTo>
                <a:cubicBezTo>
                  <a:pt x="2112518" y="6565683"/>
                  <a:pt x="2098708" y="6583578"/>
                  <a:pt x="2098073" y="6615819"/>
                </a:cubicBezTo>
                <a:cubicBezTo>
                  <a:pt x="2097755" y="6635487"/>
                  <a:pt x="2102041" y="6650157"/>
                  <a:pt x="2110613" y="6659669"/>
                </a:cubicBezTo>
                <a:cubicBezTo>
                  <a:pt x="2117915" y="6667729"/>
                  <a:pt x="2128233" y="6671759"/>
                  <a:pt x="2141249" y="6671759"/>
                </a:cubicBezTo>
                <a:cubicBezTo>
                  <a:pt x="2151726" y="6671759"/>
                  <a:pt x="2161885" y="6669019"/>
                  <a:pt x="2167441" y="6664344"/>
                </a:cubicBezTo>
                <a:cubicBezTo>
                  <a:pt x="2171568" y="6661119"/>
                  <a:pt x="2172679" y="6657250"/>
                  <a:pt x="2172361" y="6652736"/>
                </a:cubicBezTo>
                <a:cubicBezTo>
                  <a:pt x="2172044" y="6649029"/>
                  <a:pt x="2168869" y="6645160"/>
                  <a:pt x="2168869" y="6645160"/>
                </a:cubicBezTo>
                <a:cubicBezTo>
                  <a:pt x="2168869" y="6645160"/>
                  <a:pt x="2166012" y="6646611"/>
                  <a:pt x="2163155" y="6647578"/>
                </a:cubicBezTo>
                <a:cubicBezTo>
                  <a:pt x="2157916" y="6649190"/>
                  <a:pt x="2150773" y="6651286"/>
                  <a:pt x="2143471" y="6651286"/>
                </a:cubicBezTo>
                <a:cubicBezTo>
                  <a:pt x="2131249" y="6651286"/>
                  <a:pt x="2124105" y="6643548"/>
                  <a:pt x="2122042" y="6629845"/>
                </a:cubicBezTo>
                <a:cubicBezTo>
                  <a:pt x="2127756" y="6630651"/>
                  <a:pt x="2132518" y="6630812"/>
                  <a:pt x="2137915" y="6630812"/>
                </a:cubicBezTo>
                <a:cubicBezTo>
                  <a:pt x="2159186" y="6630812"/>
                  <a:pt x="2174107" y="6619850"/>
                  <a:pt x="2174742" y="6600021"/>
                </a:cubicBezTo>
                <a:cubicBezTo>
                  <a:pt x="2174901" y="6590348"/>
                  <a:pt x="2172996" y="6582449"/>
                  <a:pt x="2167441" y="6576323"/>
                </a:cubicBezTo>
                <a:cubicBezTo>
                  <a:pt x="2160932" y="6569069"/>
                  <a:pt x="2150456" y="6565683"/>
                  <a:pt x="2137122" y="6565683"/>
                </a:cubicBezTo>
                <a:close/>
                <a:moveTo>
                  <a:pt x="1999798" y="6565683"/>
                </a:moveTo>
                <a:cubicBezTo>
                  <a:pt x="1974733" y="6565683"/>
                  <a:pt x="1960502" y="6583578"/>
                  <a:pt x="1959855" y="6615819"/>
                </a:cubicBezTo>
                <a:cubicBezTo>
                  <a:pt x="1959533" y="6635487"/>
                  <a:pt x="1963898" y="6650157"/>
                  <a:pt x="1972792" y="6659669"/>
                </a:cubicBezTo>
                <a:cubicBezTo>
                  <a:pt x="1980231" y="6667729"/>
                  <a:pt x="1990743" y="6671759"/>
                  <a:pt x="2004003" y="6671759"/>
                </a:cubicBezTo>
                <a:cubicBezTo>
                  <a:pt x="2014676" y="6671759"/>
                  <a:pt x="2024864" y="6669019"/>
                  <a:pt x="2030686" y="6664344"/>
                </a:cubicBezTo>
                <a:cubicBezTo>
                  <a:pt x="2034728" y="6661119"/>
                  <a:pt x="2036022" y="6657250"/>
                  <a:pt x="2035538" y="6652736"/>
                </a:cubicBezTo>
                <a:cubicBezTo>
                  <a:pt x="2035214" y="6649029"/>
                  <a:pt x="2031979" y="6645160"/>
                  <a:pt x="2031979" y="6645160"/>
                </a:cubicBezTo>
                <a:cubicBezTo>
                  <a:pt x="2031979" y="6645160"/>
                  <a:pt x="2029230" y="6646611"/>
                  <a:pt x="2026319" y="6647578"/>
                </a:cubicBezTo>
                <a:cubicBezTo>
                  <a:pt x="2020983" y="6649190"/>
                  <a:pt x="2013707" y="6651286"/>
                  <a:pt x="2006267" y="6651286"/>
                </a:cubicBezTo>
                <a:cubicBezTo>
                  <a:pt x="1993653" y="6651286"/>
                  <a:pt x="1986376" y="6643548"/>
                  <a:pt x="1984436" y="6629845"/>
                </a:cubicBezTo>
                <a:cubicBezTo>
                  <a:pt x="1990257" y="6630651"/>
                  <a:pt x="1994947" y="6630812"/>
                  <a:pt x="2000607" y="6630812"/>
                </a:cubicBezTo>
                <a:cubicBezTo>
                  <a:pt x="2022115" y="6630812"/>
                  <a:pt x="2037317" y="6619850"/>
                  <a:pt x="2037963" y="6600021"/>
                </a:cubicBezTo>
                <a:cubicBezTo>
                  <a:pt x="2038286" y="6590348"/>
                  <a:pt x="2036184" y="6582449"/>
                  <a:pt x="2030686" y="6576323"/>
                </a:cubicBezTo>
                <a:cubicBezTo>
                  <a:pt x="2023894" y="6569069"/>
                  <a:pt x="2013221" y="6565683"/>
                  <a:pt x="1999798" y="6565683"/>
                </a:cubicBezTo>
                <a:close/>
                <a:moveTo>
                  <a:pt x="1878850" y="6565683"/>
                </a:moveTo>
                <a:cubicBezTo>
                  <a:pt x="1872260" y="6565683"/>
                  <a:pt x="1866313" y="6568732"/>
                  <a:pt x="1861974" y="6574028"/>
                </a:cubicBezTo>
                <a:cubicBezTo>
                  <a:pt x="1860849" y="6569053"/>
                  <a:pt x="1856991" y="6567288"/>
                  <a:pt x="1851687" y="6567288"/>
                </a:cubicBezTo>
                <a:cubicBezTo>
                  <a:pt x="1846384" y="6567288"/>
                  <a:pt x="1839955" y="6568251"/>
                  <a:pt x="1837383" y="6569695"/>
                </a:cubicBezTo>
                <a:cubicBezTo>
                  <a:pt x="1838830" y="6572744"/>
                  <a:pt x="1839312" y="6577879"/>
                  <a:pt x="1839312" y="6582694"/>
                </a:cubicBezTo>
                <a:lnTo>
                  <a:pt x="1839312" y="6660042"/>
                </a:lnTo>
                <a:cubicBezTo>
                  <a:pt x="1839312" y="6667585"/>
                  <a:pt x="1843973" y="6670152"/>
                  <a:pt x="1850402" y="6670152"/>
                </a:cubicBezTo>
                <a:cubicBezTo>
                  <a:pt x="1856027" y="6670152"/>
                  <a:pt x="1861170" y="6669029"/>
                  <a:pt x="1863902" y="6667585"/>
                </a:cubicBezTo>
                <a:cubicBezTo>
                  <a:pt x="1863902" y="6607888"/>
                  <a:pt x="1863902" y="6607888"/>
                  <a:pt x="1863902" y="6607888"/>
                </a:cubicBezTo>
                <a:cubicBezTo>
                  <a:pt x="1864706" y="6595211"/>
                  <a:pt x="1870331" y="6588792"/>
                  <a:pt x="1880296" y="6588792"/>
                </a:cubicBezTo>
                <a:cubicBezTo>
                  <a:pt x="1883350" y="6588792"/>
                  <a:pt x="1885439" y="6589754"/>
                  <a:pt x="1887207" y="6590396"/>
                </a:cubicBezTo>
                <a:cubicBezTo>
                  <a:pt x="1888493" y="6590878"/>
                  <a:pt x="1890100" y="6591680"/>
                  <a:pt x="1891064" y="6592322"/>
                </a:cubicBezTo>
                <a:cubicBezTo>
                  <a:pt x="1891064" y="6592322"/>
                  <a:pt x="1895243" y="6588150"/>
                  <a:pt x="1895243" y="6580928"/>
                </a:cubicBezTo>
                <a:cubicBezTo>
                  <a:pt x="1895243" y="6573226"/>
                  <a:pt x="1890100" y="6565683"/>
                  <a:pt x="1878850" y="6565683"/>
                </a:cubicBezTo>
                <a:close/>
                <a:moveTo>
                  <a:pt x="1781935" y="6565683"/>
                </a:moveTo>
                <a:cubicBezTo>
                  <a:pt x="1758413" y="6565683"/>
                  <a:pt x="1739344" y="6589429"/>
                  <a:pt x="1739344" y="6618721"/>
                </a:cubicBezTo>
                <a:cubicBezTo>
                  <a:pt x="1739344" y="6648013"/>
                  <a:pt x="1758413" y="6671759"/>
                  <a:pt x="1781935" y="6671759"/>
                </a:cubicBezTo>
                <a:cubicBezTo>
                  <a:pt x="1805457" y="6671759"/>
                  <a:pt x="1824526" y="6648013"/>
                  <a:pt x="1824526" y="6618721"/>
                </a:cubicBezTo>
                <a:cubicBezTo>
                  <a:pt x="1824526" y="6589429"/>
                  <a:pt x="1805457" y="6565683"/>
                  <a:pt x="1781935" y="6565683"/>
                </a:cubicBezTo>
                <a:close/>
                <a:moveTo>
                  <a:pt x="1683895" y="6565683"/>
                </a:moveTo>
                <a:cubicBezTo>
                  <a:pt x="1660373" y="6565683"/>
                  <a:pt x="1641304" y="6589429"/>
                  <a:pt x="1641304" y="6618721"/>
                </a:cubicBezTo>
                <a:cubicBezTo>
                  <a:pt x="1641304" y="6648013"/>
                  <a:pt x="1660373" y="6671759"/>
                  <a:pt x="1683895" y="6671759"/>
                </a:cubicBezTo>
                <a:cubicBezTo>
                  <a:pt x="1707417" y="6671759"/>
                  <a:pt x="1726486" y="6648013"/>
                  <a:pt x="1726486" y="6618721"/>
                </a:cubicBezTo>
                <a:cubicBezTo>
                  <a:pt x="1726486" y="6589429"/>
                  <a:pt x="1707417" y="6565683"/>
                  <a:pt x="1683895" y="6565683"/>
                </a:cubicBezTo>
                <a:close/>
                <a:moveTo>
                  <a:pt x="1449234" y="6565683"/>
                </a:moveTo>
                <a:cubicBezTo>
                  <a:pt x="1424631" y="6565683"/>
                  <a:pt x="1410819" y="6583578"/>
                  <a:pt x="1410185" y="6615819"/>
                </a:cubicBezTo>
                <a:cubicBezTo>
                  <a:pt x="1409867" y="6635487"/>
                  <a:pt x="1414154" y="6650157"/>
                  <a:pt x="1422726" y="6659669"/>
                </a:cubicBezTo>
                <a:cubicBezTo>
                  <a:pt x="1430027" y="6667729"/>
                  <a:pt x="1440345" y="6671759"/>
                  <a:pt x="1453362" y="6671759"/>
                </a:cubicBezTo>
                <a:cubicBezTo>
                  <a:pt x="1463839" y="6671759"/>
                  <a:pt x="1473998" y="6669019"/>
                  <a:pt x="1479553" y="6664344"/>
                </a:cubicBezTo>
                <a:cubicBezTo>
                  <a:pt x="1483681" y="6661119"/>
                  <a:pt x="1484791" y="6657250"/>
                  <a:pt x="1484474" y="6652736"/>
                </a:cubicBezTo>
                <a:cubicBezTo>
                  <a:pt x="1484156" y="6649029"/>
                  <a:pt x="1480981" y="6645160"/>
                  <a:pt x="1480981" y="6645160"/>
                </a:cubicBezTo>
                <a:cubicBezTo>
                  <a:pt x="1480981" y="6645160"/>
                  <a:pt x="1478125" y="6646611"/>
                  <a:pt x="1475268" y="6647578"/>
                </a:cubicBezTo>
                <a:cubicBezTo>
                  <a:pt x="1470028" y="6649190"/>
                  <a:pt x="1462886" y="6651286"/>
                  <a:pt x="1455584" y="6651286"/>
                </a:cubicBezTo>
                <a:cubicBezTo>
                  <a:pt x="1443361" y="6651286"/>
                  <a:pt x="1436217" y="6643548"/>
                  <a:pt x="1434155" y="6629845"/>
                </a:cubicBezTo>
                <a:cubicBezTo>
                  <a:pt x="1439868" y="6630651"/>
                  <a:pt x="1444630" y="6630812"/>
                  <a:pt x="1450027" y="6630812"/>
                </a:cubicBezTo>
                <a:cubicBezTo>
                  <a:pt x="1471299" y="6630812"/>
                  <a:pt x="1486220" y="6619850"/>
                  <a:pt x="1486855" y="6600021"/>
                </a:cubicBezTo>
                <a:cubicBezTo>
                  <a:pt x="1487014" y="6590348"/>
                  <a:pt x="1485109" y="6582449"/>
                  <a:pt x="1479553" y="6576323"/>
                </a:cubicBezTo>
                <a:cubicBezTo>
                  <a:pt x="1473045" y="6569069"/>
                  <a:pt x="1462568" y="6565683"/>
                  <a:pt x="1449234" y="6565683"/>
                </a:cubicBezTo>
                <a:close/>
                <a:moveTo>
                  <a:pt x="1260323" y="6565683"/>
                </a:moveTo>
                <a:cubicBezTo>
                  <a:pt x="1250979" y="6565683"/>
                  <a:pt x="1243377" y="6569374"/>
                  <a:pt x="1237358" y="6576435"/>
                </a:cubicBezTo>
                <a:cubicBezTo>
                  <a:pt x="1237041" y="6569374"/>
                  <a:pt x="1232765" y="6566967"/>
                  <a:pt x="1226589" y="6566967"/>
                </a:cubicBezTo>
                <a:cubicBezTo>
                  <a:pt x="1221204" y="6566967"/>
                  <a:pt x="1214711" y="6567930"/>
                  <a:pt x="1212176" y="6569374"/>
                </a:cubicBezTo>
                <a:cubicBezTo>
                  <a:pt x="1213602" y="6572423"/>
                  <a:pt x="1214077" y="6577558"/>
                  <a:pt x="1214077" y="6582373"/>
                </a:cubicBezTo>
                <a:cubicBezTo>
                  <a:pt x="1214077" y="6591841"/>
                  <a:pt x="1214077" y="6591841"/>
                  <a:pt x="1214077" y="6591841"/>
                </a:cubicBezTo>
                <a:cubicBezTo>
                  <a:pt x="1214077" y="6659561"/>
                  <a:pt x="1214077" y="6659561"/>
                  <a:pt x="1214077" y="6659561"/>
                </a:cubicBezTo>
                <a:cubicBezTo>
                  <a:pt x="1214077" y="6667103"/>
                  <a:pt x="1218670" y="6669831"/>
                  <a:pt x="1224847" y="6669831"/>
                </a:cubicBezTo>
                <a:cubicBezTo>
                  <a:pt x="1230390" y="6669831"/>
                  <a:pt x="1235458" y="6668547"/>
                  <a:pt x="1238150" y="6667103"/>
                </a:cubicBezTo>
                <a:cubicBezTo>
                  <a:pt x="1238150" y="6648649"/>
                  <a:pt x="1238150" y="6648649"/>
                  <a:pt x="1238150" y="6648649"/>
                </a:cubicBezTo>
                <a:cubicBezTo>
                  <a:pt x="1238150" y="6599383"/>
                  <a:pt x="1238150" y="6599383"/>
                  <a:pt x="1238150" y="6599383"/>
                </a:cubicBezTo>
                <a:cubicBezTo>
                  <a:pt x="1241160" y="6590717"/>
                  <a:pt x="1245752" y="6586866"/>
                  <a:pt x="1252404" y="6586866"/>
                </a:cubicBezTo>
                <a:cubicBezTo>
                  <a:pt x="1260006" y="6586866"/>
                  <a:pt x="1264124" y="6592803"/>
                  <a:pt x="1264599" y="6604518"/>
                </a:cubicBezTo>
                <a:cubicBezTo>
                  <a:pt x="1264599" y="6646402"/>
                  <a:pt x="1264599" y="6646402"/>
                  <a:pt x="1264599" y="6646402"/>
                </a:cubicBezTo>
                <a:cubicBezTo>
                  <a:pt x="1264599" y="6654907"/>
                  <a:pt x="1266024" y="6660845"/>
                  <a:pt x="1269033" y="6664696"/>
                </a:cubicBezTo>
                <a:cubicBezTo>
                  <a:pt x="1272043" y="6668387"/>
                  <a:pt x="1276319" y="6670152"/>
                  <a:pt x="1282179" y="6670152"/>
                </a:cubicBezTo>
                <a:cubicBezTo>
                  <a:pt x="1292948" y="6670152"/>
                  <a:pt x="1298809" y="6666301"/>
                  <a:pt x="1298966" y="6657796"/>
                </a:cubicBezTo>
                <a:cubicBezTo>
                  <a:pt x="1298966" y="6655870"/>
                  <a:pt x="1298333" y="6653142"/>
                  <a:pt x="1297699" y="6652340"/>
                </a:cubicBezTo>
                <a:cubicBezTo>
                  <a:pt x="1294532" y="6652340"/>
                  <a:pt x="1294532" y="6652340"/>
                  <a:pt x="1294532" y="6652340"/>
                </a:cubicBezTo>
                <a:cubicBezTo>
                  <a:pt x="1292315" y="6652340"/>
                  <a:pt x="1291048" y="6652179"/>
                  <a:pt x="1290098" y="6651377"/>
                </a:cubicBezTo>
                <a:cubicBezTo>
                  <a:pt x="1289147" y="6650253"/>
                  <a:pt x="1288672" y="6647846"/>
                  <a:pt x="1288672" y="6643674"/>
                </a:cubicBezTo>
                <a:cubicBezTo>
                  <a:pt x="1288672" y="6609814"/>
                  <a:pt x="1288672" y="6609814"/>
                  <a:pt x="1288672" y="6609814"/>
                </a:cubicBezTo>
                <a:cubicBezTo>
                  <a:pt x="1288672" y="6589273"/>
                  <a:pt x="1285346" y="6565683"/>
                  <a:pt x="1260323" y="6565683"/>
                </a:cubicBezTo>
                <a:close/>
                <a:moveTo>
                  <a:pt x="1143227" y="6565683"/>
                </a:moveTo>
                <a:cubicBezTo>
                  <a:pt x="1133423" y="6565683"/>
                  <a:pt x="1125226" y="6569089"/>
                  <a:pt x="1119118" y="6575577"/>
                </a:cubicBezTo>
                <a:cubicBezTo>
                  <a:pt x="1108511" y="6587093"/>
                  <a:pt x="1106100" y="6606557"/>
                  <a:pt x="1106261" y="6616288"/>
                </a:cubicBezTo>
                <a:cubicBezTo>
                  <a:pt x="1106100" y="6636401"/>
                  <a:pt x="1110279" y="6652945"/>
                  <a:pt x="1119279" y="6662676"/>
                </a:cubicBezTo>
                <a:cubicBezTo>
                  <a:pt x="1124904" y="6668678"/>
                  <a:pt x="1132298" y="6671759"/>
                  <a:pt x="1140494" y="6671759"/>
                </a:cubicBezTo>
                <a:cubicBezTo>
                  <a:pt x="1151102" y="6671759"/>
                  <a:pt x="1159299" y="6667218"/>
                  <a:pt x="1164281" y="6659108"/>
                </a:cubicBezTo>
                <a:cubicBezTo>
                  <a:pt x="1164281" y="6659108"/>
                  <a:pt x="1165888" y="6663487"/>
                  <a:pt x="1167817" y="6665920"/>
                </a:cubicBezTo>
                <a:cubicBezTo>
                  <a:pt x="1170871" y="6669651"/>
                  <a:pt x="1174728" y="6671597"/>
                  <a:pt x="1180835" y="6671597"/>
                </a:cubicBezTo>
                <a:cubicBezTo>
                  <a:pt x="1191604" y="6671597"/>
                  <a:pt x="1197711" y="6667704"/>
                  <a:pt x="1197711" y="6659108"/>
                </a:cubicBezTo>
                <a:cubicBezTo>
                  <a:pt x="1197711" y="6657162"/>
                  <a:pt x="1197068" y="6654404"/>
                  <a:pt x="1196586" y="6653593"/>
                </a:cubicBezTo>
                <a:cubicBezTo>
                  <a:pt x="1193211" y="6653593"/>
                  <a:pt x="1193211" y="6653593"/>
                  <a:pt x="1193211" y="6653593"/>
                </a:cubicBezTo>
                <a:cubicBezTo>
                  <a:pt x="1190961" y="6653593"/>
                  <a:pt x="1189675" y="6653431"/>
                  <a:pt x="1188871" y="6652620"/>
                </a:cubicBezTo>
                <a:cubicBezTo>
                  <a:pt x="1187746" y="6651485"/>
                  <a:pt x="1187264" y="6649052"/>
                  <a:pt x="1187264" y="6644835"/>
                </a:cubicBezTo>
                <a:cubicBezTo>
                  <a:pt x="1187425" y="6567954"/>
                  <a:pt x="1187425" y="6567954"/>
                  <a:pt x="1187425" y="6567954"/>
                </a:cubicBezTo>
                <a:lnTo>
                  <a:pt x="1174889" y="6567954"/>
                </a:lnTo>
                <a:cubicBezTo>
                  <a:pt x="1169585" y="6567954"/>
                  <a:pt x="1165245" y="6570225"/>
                  <a:pt x="1164603" y="6576875"/>
                </a:cubicBezTo>
                <a:cubicBezTo>
                  <a:pt x="1160585" y="6570874"/>
                  <a:pt x="1152870" y="6565683"/>
                  <a:pt x="1143227" y="6565683"/>
                </a:cubicBezTo>
                <a:close/>
                <a:moveTo>
                  <a:pt x="1918499" y="6544789"/>
                </a:moveTo>
                <a:cubicBezTo>
                  <a:pt x="1912731" y="6544789"/>
                  <a:pt x="1906003" y="6545763"/>
                  <a:pt x="1903279" y="6547225"/>
                </a:cubicBezTo>
                <a:cubicBezTo>
                  <a:pt x="1904561" y="6549823"/>
                  <a:pt x="1905042" y="6554206"/>
                  <a:pt x="1905202" y="6558428"/>
                </a:cubicBezTo>
                <a:cubicBezTo>
                  <a:pt x="1905202" y="6641234"/>
                  <a:pt x="1905202" y="6641234"/>
                  <a:pt x="1905202" y="6641234"/>
                </a:cubicBezTo>
                <a:cubicBezTo>
                  <a:pt x="1905202" y="6660881"/>
                  <a:pt x="1914814" y="6671759"/>
                  <a:pt x="1930194" y="6671759"/>
                </a:cubicBezTo>
                <a:cubicBezTo>
                  <a:pt x="1946215" y="6671759"/>
                  <a:pt x="1953103" y="6663154"/>
                  <a:pt x="1951982" y="6655198"/>
                </a:cubicBezTo>
                <a:cubicBezTo>
                  <a:pt x="1951341" y="6650002"/>
                  <a:pt x="1948457" y="6647242"/>
                  <a:pt x="1948457" y="6647242"/>
                </a:cubicBezTo>
                <a:cubicBezTo>
                  <a:pt x="1947817" y="6647729"/>
                  <a:pt x="1945734" y="6648541"/>
                  <a:pt x="1944452" y="6649028"/>
                </a:cubicBezTo>
                <a:cubicBezTo>
                  <a:pt x="1942530" y="6649840"/>
                  <a:pt x="1939646" y="6650652"/>
                  <a:pt x="1937083" y="6650652"/>
                </a:cubicBezTo>
                <a:cubicBezTo>
                  <a:pt x="1932116" y="6650652"/>
                  <a:pt x="1929873" y="6647404"/>
                  <a:pt x="1929553" y="6639124"/>
                </a:cubicBezTo>
                <a:cubicBezTo>
                  <a:pt x="1929553" y="6588628"/>
                  <a:pt x="1929553" y="6588628"/>
                  <a:pt x="1929553" y="6588628"/>
                </a:cubicBezTo>
                <a:cubicBezTo>
                  <a:pt x="1942049" y="6588628"/>
                  <a:pt x="1942049" y="6588628"/>
                  <a:pt x="1942049" y="6588628"/>
                </a:cubicBezTo>
                <a:cubicBezTo>
                  <a:pt x="1950220" y="6588628"/>
                  <a:pt x="1951822" y="6580834"/>
                  <a:pt x="1951822" y="6576126"/>
                </a:cubicBezTo>
                <a:cubicBezTo>
                  <a:pt x="1951822" y="6572716"/>
                  <a:pt x="1951021" y="6569956"/>
                  <a:pt x="1949098" y="6568170"/>
                </a:cubicBezTo>
                <a:cubicBezTo>
                  <a:pt x="1929713" y="6568170"/>
                  <a:pt x="1929713" y="6568170"/>
                  <a:pt x="1929713" y="6568170"/>
                </a:cubicBezTo>
                <a:cubicBezTo>
                  <a:pt x="1929713" y="6555018"/>
                  <a:pt x="1929713" y="6555018"/>
                  <a:pt x="1929713" y="6555018"/>
                </a:cubicBezTo>
                <a:cubicBezTo>
                  <a:pt x="1929713" y="6547549"/>
                  <a:pt x="1925067" y="6544789"/>
                  <a:pt x="1918499" y="6544789"/>
                </a:cubicBezTo>
                <a:close/>
                <a:moveTo>
                  <a:pt x="2066345" y="6525502"/>
                </a:moveTo>
                <a:cubicBezTo>
                  <a:pt x="2060584" y="6525502"/>
                  <a:pt x="2053863" y="6526470"/>
                  <a:pt x="2051142" y="6527921"/>
                </a:cubicBezTo>
                <a:cubicBezTo>
                  <a:pt x="2052742" y="6530985"/>
                  <a:pt x="2053223" y="6536145"/>
                  <a:pt x="2053223" y="6540983"/>
                </a:cubicBezTo>
                <a:lnTo>
                  <a:pt x="2053223" y="6647894"/>
                </a:lnTo>
                <a:cubicBezTo>
                  <a:pt x="2053223" y="6656440"/>
                  <a:pt x="2054663" y="6662407"/>
                  <a:pt x="2057703" y="6666277"/>
                </a:cubicBezTo>
                <a:cubicBezTo>
                  <a:pt x="2060744" y="6669985"/>
                  <a:pt x="2065065" y="6671759"/>
                  <a:pt x="2071145" y="6671759"/>
                </a:cubicBezTo>
                <a:cubicBezTo>
                  <a:pt x="2082027" y="6671759"/>
                  <a:pt x="2087948" y="6667889"/>
                  <a:pt x="2088108" y="6659343"/>
                </a:cubicBezTo>
                <a:cubicBezTo>
                  <a:pt x="2088108" y="6657408"/>
                  <a:pt x="2087468" y="6654666"/>
                  <a:pt x="2086988" y="6653860"/>
                </a:cubicBezTo>
                <a:cubicBezTo>
                  <a:pt x="2083628" y="6653860"/>
                  <a:pt x="2083628" y="6653860"/>
                  <a:pt x="2083628" y="6653860"/>
                </a:cubicBezTo>
                <a:cubicBezTo>
                  <a:pt x="2081387" y="6653860"/>
                  <a:pt x="2080107" y="6653699"/>
                  <a:pt x="2079147" y="6652893"/>
                </a:cubicBezTo>
                <a:cubicBezTo>
                  <a:pt x="2078027" y="6651925"/>
                  <a:pt x="2077546" y="6649506"/>
                  <a:pt x="2077707" y="6645152"/>
                </a:cubicBezTo>
                <a:cubicBezTo>
                  <a:pt x="2077707" y="6535822"/>
                  <a:pt x="2077707" y="6535822"/>
                  <a:pt x="2077707" y="6535822"/>
                </a:cubicBezTo>
                <a:cubicBezTo>
                  <a:pt x="2077707" y="6534371"/>
                  <a:pt x="2077546" y="6533081"/>
                  <a:pt x="2077226" y="6531952"/>
                </a:cubicBezTo>
                <a:cubicBezTo>
                  <a:pt x="2075786" y="6527276"/>
                  <a:pt x="2071786" y="6525502"/>
                  <a:pt x="2066345" y="6525502"/>
                </a:cubicBezTo>
                <a:close/>
                <a:moveTo>
                  <a:pt x="1380115" y="6525502"/>
                </a:moveTo>
                <a:cubicBezTo>
                  <a:pt x="1374565" y="6525502"/>
                  <a:pt x="1367871" y="6526468"/>
                  <a:pt x="1365259" y="6527916"/>
                </a:cubicBezTo>
                <a:cubicBezTo>
                  <a:pt x="1366728" y="6530973"/>
                  <a:pt x="1367219" y="6536282"/>
                  <a:pt x="1367219" y="6541109"/>
                </a:cubicBezTo>
                <a:cubicBezTo>
                  <a:pt x="1367219" y="6576024"/>
                  <a:pt x="1367219" y="6576024"/>
                  <a:pt x="1367219" y="6576024"/>
                </a:cubicBezTo>
                <a:cubicBezTo>
                  <a:pt x="1361342" y="6569910"/>
                  <a:pt x="1354811" y="6566531"/>
                  <a:pt x="1346486" y="6566531"/>
                </a:cubicBezTo>
                <a:cubicBezTo>
                  <a:pt x="1336363" y="6566531"/>
                  <a:pt x="1328201" y="6569749"/>
                  <a:pt x="1321997" y="6576346"/>
                </a:cubicBezTo>
                <a:cubicBezTo>
                  <a:pt x="1311059" y="6587770"/>
                  <a:pt x="1308773" y="6606917"/>
                  <a:pt x="1308773" y="6616732"/>
                </a:cubicBezTo>
                <a:cubicBezTo>
                  <a:pt x="1308609" y="6636522"/>
                  <a:pt x="1313018" y="6652934"/>
                  <a:pt x="1322159" y="6662588"/>
                </a:cubicBezTo>
                <a:cubicBezTo>
                  <a:pt x="1327874" y="6668702"/>
                  <a:pt x="1335220" y="6671759"/>
                  <a:pt x="1343546" y="6671759"/>
                </a:cubicBezTo>
                <a:cubicBezTo>
                  <a:pt x="1354484" y="6671759"/>
                  <a:pt x="1362647" y="6666932"/>
                  <a:pt x="1367707" y="6659048"/>
                </a:cubicBezTo>
                <a:cubicBezTo>
                  <a:pt x="1367707" y="6659048"/>
                  <a:pt x="1369667" y="6663714"/>
                  <a:pt x="1371463" y="6665967"/>
                </a:cubicBezTo>
                <a:cubicBezTo>
                  <a:pt x="1374565" y="6669507"/>
                  <a:pt x="1378482" y="6671437"/>
                  <a:pt x="1384686" y="6671437"/>
                </a:cubicBezTo>
                <a:cubicBezTo>
                  <a:pt x="1395624" y="6671437"/>
                  <a:pt x="1401665" y="6667576"/>
                  <a:pt x="1401828" y="6659048"/>
                </a:cubicBezTo>
                <a:cubicBezTo>
                  <a:pt x="1401828" y="6657117"/>
                  <a:pt x="1401175" y="6654382"/>
                  <a:pt x="1400684" y="6653578"/>
                </a:cubicBezTo>
                <a:cubicBezTo>
                  <a:pt x="1397257" y="6653578"/>
                  <a:pt x="1397257" y="6653578"/>
                  <a:pt x="1397257" y="6653578"/>
                </a:cubicBezTo>
                <a:cubicBezTo>
                  <a:pt x="1394971" y="6653578"/>
                  <a:pt x="1393665" y="6653417"/>
                  <a:pt x="1392849" y="6652612"/>
                </a:cubicBezTo>
                <a:cubicBezTo>
                  <a:pt x="1391705" y="6651486"/>
                  <a:pt x="1391217" y="6649073"/>
                  <a:pt x="1391217" y="6644889"/>
                </a:cubicBezTo>
                <a:lnTo>
                  <a:pt x="1391217" y="6535639"/>
                </a:lnTo>
                <a:cubicBezTo>
                  <a:pt x="1391217" y="6528238"/>
                  <a:pt x="1386646" y="6525502"/>
                  <a:pt x="1380115" y="6525502"/>
                </a:cubicBezTo>
                <a:close/>
                <a:moveTo>
                  <a:pt x="939592" y="6525502"/>
                </a:moveTo>
                <a:cubicBezTo>
                  <a:pt x="914037" y="6533435"/>
                  <a:pt x="892500" y="6553024"/>
                  <a:pt x="882857" y="6580222"/>
                </a:cubicBezTo>
                <a:cubicBezTo>
                  <a:pt x="873053" y="6607420"/>
                  <a:pt x="877232" y="6636236"/>
                  <a:pt x="891858" y="6658901"/>
                </a:cubicBezTo>
                <a:cubicBezTo>
                  <a:pt x="917252" y="6650807"/>
                  <a:pt x="938788" y="6631380"/>
                  <a:pt x="948592" y="6604020"/>
                </a:cubicBezTo>
                <a:cubicBezTo>
                  <a:pt x="958235" y="6576822"/>
                  <a:pt x="954056" y="6548005"/>
                  <a:pt x="939592" y="6525502"/>
                </a:cubicBezTo>
                <a:close/>
                <a:moveTo>
                  <a:pt x="1093886" y="6523895"/>
                </a:moveTo>
                <a:cubicBezTo>
                  <a:pt x="1086010" y="6523895"/>
                  <a:pt x="1080224" y="6525671"/>
                  <a:pt x="1080224" y="6525671"/>
                </a:cubicBezTo>
                <a:cubicBezTo>
                  <a:pt x="1063510" y="6597024"/>
                  <a:pt x="1063510" y="6597024"/>
                  <a:pt x="1063510" y="6597024"/>
                </a:cubicBezTo>
                <a:cubicBezTo>
                  <a:pt x="1061581" y="6604288"/>
                  <a:pt x="1057081" y="6625113"/>
                  <a:pt x="1055313" y="6636736"/>
                </a:cubicBezTo>
                <a:cubicBezTo>
                  <a:pt x="1053384" y="6624629"/>
                  <a:pt x="1049205" y="6604772"/>
                  <a:pt x="1047116" y="6596701"/>
                </a:cubicBezTo>
                <a:cubicBezTo>
                  <a:pt x="1032811" y="6535357"/>
                  <a:pt x="1032811" y="6535357"/>
                  <a:pt x="1032811" y="6535357"/>
                </a:cubicBezTo>
                <a:cubicBezTo>
                  <a:pt x="1031044" y="6527770"/>
                  <a:pt x="1026704" y="6524218"/>
                  <a:pt x="1019472" y="6524218"/>
                </a:cubicBezTo>
                <a:cubicBezTo>
                  <a:pt x="1009989" y="6524218"/>
                  <a:pt x="1003560" y="6528415"/>
                  <a:pt x="1001632" y="6529868"/>
                </a:cubicBezTo>
                <a:cubicBezTo>
                  <a:pt x="1003721" y="6532451"/>
                  <a:pt x="1005167" y="6535357"/>
                  <a:pt x="1007418" y="6543267"/>
                </a:cubicBezTo>
                <a:cubicBezTo>
                  <a:pt x="1037151" y="6657238"/>
                  <a:pt x="1037151" y="6657238"/>
                  <a:pt x="1037151" y="6657238"/>
                </a:cubicBezTo>
                <a:cubicBezTo>
                  <a:pt x="1039401" y="6666278"/>
                  <a:pt x="1043098" y="6670152"/>
                  <a:pt x="1049688" y="6670152"/>
                </a:cubicBezTo>
                <a:cubicBezTo>
                  <a:pt x="1055955" y="6670152"/>
                  <a:pt x="1061902" y="6670152"/>
                  <a:pt x="1069777" y="6666278"/>
                </a:cubicBezTo>
                <a:cubicBezTo>
                  <a:pt x="1103529" y="6536971"/>
                  <a:pt x="1103529" y="6536971"/>
                  <a:pt x="1103529" y="6536971"/>
                </a:cubicBezTo>
                <a:cubicBezTo>
                  <a:pt x="1106101" y="6527931"/>
                  <a:pt x="1100636" y="6523895"/>
                  <a:pt x="1093886" y="6523895"/>
                </a:cubicBezTo>
                <a:close/>
                <a:moveTo>
                  <a:pt x="751551" y="6511583"/>
                </a:moveTo>
                <a:cubicBezTo>
                  <a:pt x="749297" y="6533484"/>
                  <a:pt x="756704" y="6556040"/>
                  <a:pt x="773932" y="6572221"/>
                </a:cubicBezTo>
                <a:cubicBezTo>
                  <a:pt x="791000" y="6588566"/>
                  <a:pt x="813864" y="6594613"/>
                  <a:pt x="835440" y="6591017"/>
                </a:cubicBezTo>
                <a:cubicBezTo>
                  <a:pt x="837694" y="6569116"/>
                  <a:pt x="830287" y="6546560"/>
                  <a:pt x="813059" y="6530215"/>
                </a:cubicBezTo>
                <a:cubicBezTo>
                  <a:pt x="795991" y="6514034"/>
                  <a:pt x="773127" y="6507823"/>
                  <a:pt x="751551" y="6511583"/>
                </a:cubicBezTo>
                <a:close/>
                <a:moveTo>
                  <a:pt x="883972" y="6454785"/>
                </a:moveTo>
                <a:cubicBezTo>
                  <a:pt x="866598" y="6462847"/>
                  <a:pt x="853050" y="6478810"/>
                  <a:pt x="848586" y="6499127"/>
                </a:cubicBezTo>
                <a:cubicBezTo>
                  <a:pt x="844123" y="6519443"/>
                  <a:pt x="849862" y="6539598"/>
                  <a:pt x="862135" y="6554432"/>
                </a:cubicBezTo>
                <a:cubicBezTo>
                  <a:pt x="879509" y="6546370"/>
                  <a:pt x="893057" y="6530407"/>
                  <a:pt x="897520" y="6510091"/>
                </a:cubicBezTo>
                <a:cubicBezTo>
                  <a:pt x="901983" y="6489775"/>
                  <a:pt x="896405" y="6469619"/>
                  <a:pt x="883972" y="6454785"/>
                </a:cubicBezTo>
                <a:close/>
                <a:moveTo>
                  <a:pt x="0" y="0"/>
                </a:moveTo>
                <a:lnTo>
                  <a:pt x="9143998" y="0"/>
                </a:lnTo>
                <a:lnTo>
                  <a:pt x="9143998" y="6857998"/>
                </a:lnTo>
                <a:lnTo>
                  <a:pt x="0" y="6857998"/>
                </a:lnTo>
                <a:close/>
              </a:path>
            </a:pathLst>
          </a:custGeom>
          <a:solidFill>
            <a:schemeClr val="accent3"/>
          </a:solidFill>
        </p:spPr>
        <p:txBody>
          <a:bodyPr wrap="square">
            <a:noAutofit/>
          </a:bodyPr>
          <a:lstStyle>
            <a:lvl1pPr marL="0" indent="0">
              <a:buNone/>
              <a:defRPr baseline="0">
                <a:solidFill>
                  <a:schemeClr val="bg1"/>
                </a:solidFill>
              </a:defRPr>
            </a:lvl1pPr>
          </a:lstStyle>
          <a:p>
            <a:r>
              <a:rPr lang="en-GB"/>
              <a:t>[Click on icon to insert picture]</a:t>
            </a:r>
          </a:p>
        </p:txBody>
      </p:sp>
      <p:sp>
        <p:nvSpPr>
          <p:cNvPr id="2" name="Titel 1"/>
          <p:cNvSpPr>
            <a:spLocks noGrp="1" noSelect="1"/>
          </p:cNvSpPr>
          <p:nvPr>
            <p:ph type="title" hasCustomPrompt="1"/>
          </p:nvPr>
        </p:nvSpPr>
        <p:spPr bwMode="gray"/>
        <p:txBody>
          <a:bodyPr/>
          <a:lstStyle>
            <a:lvl1pPr>
              <a:defRPr>
                <a:solidFill>
                  <a:schemeClr val="bg1"/>
                </a:solidFill>
              </a:defRPr>
            </a:lvl1pPr>
          </a:lstStyle>
          <a:p>
            <a:r>
              <a:rPr lang="en-GB" noProof="1"/>
              <a:t>[Title]</a:t>
            </a:r>
          </a:p>
        </p:txBody>
      </p:sp>
      <p:sp>
        <p:nvSpPr>
          <p:cNvPr id="13" name="Tijdelijke aanduiding voor voettekst 12"/>
          <p:cNvSpPr>
            <a:spLocks noGrp="1" noSelect="1"/>
          </p:cNvSpPr>
          <p:nvPr>
            <p:ph type="ftr" sz="quarter" idx="10"/>
          </p:nvPr>
        </p:nvSpPr>
        <p:spPr bwMode="gray"/>
        <p:txBody>
          <a:bodyPr/>
          <a:lstStyle>
            <a:lvl1pPr>
              <a:defRPr>
                <a:solidFill>
                  <a:schemeClr val="bg1"/>
                </a:solidFill>
              </a:defRPr>
            </a:lvl1pPr>
          </a:lstStyle>
          <a:p>
            <a:endParaRPr lang="en-US"/>
          </a:p>
        </p:txBody>
      </p:sp>
      <p:sp>
        <p:nvSpPr>
          <p:cNvPr id="14" name="Tijdelijke aanduiding voor dianummer 13"/>
          <p:cNvSpPr>
            <a:spLocks noGrp="1" noSelect="1"/>
          </p:cNvSpPr>
          <p:nvPr>
            <p:ph type="sldNum" sz="quarter" idx="11"/>
          </p:nvPr>
        </p:nvSpPr>
        <p:spPr bwMode="gray"/>
        <p:txBody>
          <a:bodyPr/>
          <a:lstStyle>
            <a:lvl1pPr>
              <a:defRPr>
                <a:solidFill>
                  <a:schemeClr val="bg1"/>
                </a:solidFill>
              </a:defRPr>
            </a:lvl1pPr>
          </a:lstStyle>
          <a:p>
            <a:fld id="{ADECF1AC-24A7-42A4-9FAC-3CE63B9FFA68}" type="slidenum">
              <a:rPr lang="en-US" smtClean="0"/>
              <a:t>‹#›</a:t>
            </a:fld>
            <a:endParaRPr lang="en-US"/>
          </a:p>
        </p:txBody>
      </p:sp>
      <p:sp>
        <p:nvSpPr>
          <p:cNvPr id="8" name="Subtitle"/>
          <p:cNvSpPr>
            <a:spLocks noGrp="1" noSelect="1"/>
          </p:cNvSpPr>
          <p:nvPr>
            <p:ph type="body" sz="quarter" idx="13" hasCustomPrompt="1"/>
          </p:nvPr>
        </p:nvSpPr>
        <p:spPr bwMode="gray">
          <a:xfrm>
            <a:off x="612000" y="2719201"/>
            <a:ext cx="6487200" cy="852170"/>
          </a:xfrm>
        </p:spPr>
        <p:txBody>
          <a:bodyPr/>
          <a:lstStyle>
            <a:lvl1pPr marL="0" indent="0">
              <a:spcBef>
                <a:spcPts val="0"/>
              </a:spcBef>
              <a:spcAft>
                <a:spcPts val="0"/>
              </a:spcAft>
              <a:buNone/>
              <a:defRPr sz="1700" b="0">
                <a:solidFill>
                  <a:schemeClr val="bg1"/>
                </a:solidFill>
              </a:defRPr>
            </a:lvl1pPr>
            <a:lvl2pPr marL="0" indent="0">
              <a:spcBef>
                <a:spcPts val="0"/>
              </a:spcBef>
              <a:spcAft>
                <a:spcPts val="0"/>
              </a:spcAft>
              <a:buNone/>
              <a:defRPr sz="1700" b="0"/>
            </a:lvl2pPr>
            <a:lvl3pPr marL="0" indent="0">
              <a:spcBef>
                <a:spcPts val="0"/>
              </a:spcBef>
              <a:spcAft>
                <a:spcPts val="0"/>
              </a:spcAft>
              <a:buFont typeface="Arial" panose="020B0604020202020204" pitchFamily="34" charset="0"/>
              <a:buNone/>
              <a:defRPr sz="1700" b="0"/>
            </a:lvl3pPr>
            <a:lvl4pPr marL="0" indent="0">
              <a:spcBef>
                <a:spcPts val="0"/>
              </a:spcBef>
              <a:spcAft>
                <a:spcPts val="0"/>
              </a:spcAft>
              <a:buFont typeface="Arial" panose="020B0604020202020204" pitchFamily="34" charset="0"/>
              <a:buNone/>
              <a:defRPr sz="1700" b="0"/>
            </a:lvl4pPr>
            <a:lvl5pPr marL="0" indent="0">
              <a:spcBef>
                <a:spcPts val="0"/>
              </a:spcBef>
              <a:spcAft>
                <a:spcPts val="0"/>
              </a:spcAft>
              <a:buFont typeface="Arial" panose="020B0604020202020204" pitchFamily="34" charset="0"/>
              <a:buNone/>
              <a:defRPr sz="1700" b="0"/>
            </a:lvl5pPr>
            <a:lvl6pPr marL="0" indent="0">
              <a:spcBef>
                <a:spcPts val="0"/>
              </a:spcBef>
              <a:spcAft>
                <a:spcPts val="0"/>
              </a:spcAft>
              <a:buFont typeface="Arial" panose="020B0604020202020204" pitchFamily="34" charset="0"/>
              <a:buNone/>
              <a:defRPr sz="1700" b="0"/>
            </a:lvl6pPr>
            <a:lvl7pPr marL="0" indent="0">
              <a:spcBef>
                <a:spcPts val="0"/>
              </a:spcBef>
              <a:spcAft>
                <a:spcPts val="0"/>
              </a:spcAft>
              <a:buFont typeface="Arial" panose="020B0604020202020204" pitchFamily="34" charset="0"/>
              <a:buNone/>
              <a:defRPr sz="1700" b="0"/>
            </a:lvl7pPr>
            <a:lvl8pPr marL="0" indent="0">
              <a:spcBef>
                <a:spcPts val="0"/>
              </a:spcBef>
              <a:spcAft>
                <a:spcPts val="0"/>
              </a:spcAft>
              <a:buFont typeface="Arial" panose="020B0604020202020204" pitchFamily="34" charset="0"/>
              <a:buNone/>
              <a:defRPr sz="1700" b="0"/>
            </a:lvl8pPr>
            <a:lvl9pPr marL="0" indent="0">
              <a:spcBef>
                <a:spcPts val="0"/>
              </a:spcBef>
              <a:spcAft>
                <a:spcPts val="0"/>
              </a:spcAft>
              <a:buFont typeface="Arial" panose="020B0604020202020204" pitchFamily="34" charset="0"/>
              <a:buNone/>
              <a:defRPr sz="1700" b="0"/>
            </a:lvl9pPr>
          </a:lstStyle>
          <a:p>
            <a:pPr lvl="0"/>
            <a:r>
              <a:rPr lang="en-GB"/>
              <a:t>[Subtitle or streamer]</a:t>
            </a:r>
          </a:p>
        </p:txBody>
      </p:sp>
      <p:sp>
        <p:nvSpPr>
          <p:cNvPr id="10" name="Streep (PHJU)"/>
          <p:cNvSpPr>
            <a:spLocks noGrp="1" noSelect="1"/>
          </p:cNvSpPr>
          <p:nvPr>
            <p:ph type="body" idx="1003" hasCustomPrompt="1"/>
          </p:nvPr>
        </p:nvSpPr>
        <p:spPr bwMode="gray">
          <a:xfrm>
            <a:off x="604520" y="2233449"/>
            <a:ext cx="1209040" cy="52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Tree>
    <p:extLst>
      <p:ext uri="{BB962C8B-B14F-4D97-AF65-F5344CB8AC3E}">
        <p14:creationId xmlns:p14="http://schemas.microsoft.com/office/powerpoint/2010/main" val="32763538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text, 2 images">
    <p:spTree>
      <p:nvGrpSpPr>
        <p:cNvPr id="1" name=""/>
        <p:cNvGrpSpPr/>
        <p:nvPr/>
      </p:nvGrpSpPr>
      <p:grpSpPr>
        <a:xfrm>
          <a:off x="0" y="0"/>
          <a:ext cx="0" cy="0"/>
          <a:chOff x="0" y="0"/>
          <a:chExt cx="0" cy="0"/>
        </a:xfrm>
      </p:grpSpPr>
      <p:sp>
        <p:nvSpPr>
          <p:cNvPr id="4" name="Tijdelijke aanduiding voor afbeelding 3"/>
          <p:cNvSpPr>
            <a:spLocks noGrp="1" noSelect="1"/>
          </p:cNvSpPr>
          <p:nvPr>
            <p:ph type="pic" sz="quarter" idx="15" hasCustomPrompt="1"/>
          </p:nvPr>
        </p:nvSpPr>
        <p:spPr bwMode="gray">
          <a:xfrm>
            <a:off x="4065619" y="1804459"/>
            <a:ext cx="3052142" cy="3399367"/>
          </a:xfrm>
          <a:solidFill>
            <a:schemeClr val="accent6"/>
          </a:solidFill>
        </p:spPr>
        <p:txBody>
          <a:bodyPr/>
          <a:lstStyle>
            <a:lvl1pPr marL="0" marR="0" indent="0" algn="l" defTabSz="582930" rtl="0" eaLnBrk="1" fontAlgn="auto" latinLnBrk="0" hangingPunct="1">
              <a:lnSpc>
                <a:spcPct val="92000"/>
              </a:lnSpc>
              <a:spcBef>
                <a:spcPts val="319"/>
              </a:spcBef>
              <a:spcAft>
                <a:spcPts val="0"/>
              </a:spcAft>
              <a:buClrTx/>
              <a:buSzTx/>
              <a:buFont typeface="Corbel" panose="020B0503020204020204" pitchFamily="34" charset="0"/>
              <a:buNone/>
              <a:tabLst/>
              <a:defRPr baseline="0"/>
            </a:lvl1pPr>
          </a:lstStyle>
          <a:p>
            <a:pPr marL="0" marR="0" lvl="0" indent="0" algn="l" defTabSz="582930" rtl="0" eaLnBrk="1" fontAlgn="auto" latinLnBrk="0" hangingPunct="1">
              <a:lnSpc>
                <a:spcPct val="92000"/>
              </a:lnSpc>
              <a:spcBef>
                <a:spcPts val="319"/>
              </a:spcBef>
              <a:spcAft>
                <a:spcPts val="0"/>
              </a:spcAft>
              <a:buClrTx/>
              <a:buSzTx/>
              <a:buFont typeface="Corbel" panose="020B0503020204020204" pitchFamily="34" charset="0"/>
              <a:buNone/>
              <a:tabLst/>
              <a:defRPr/>
            </a:pPr>
            <a:r>
              <a:rPr lang="en-GB"/>
              <a:t>[Click on icon to insert picture]</a:t>
            </a:r>
          </a:p>
          <a:p>
            <a:endParaRPr lang="en-GB"/>
          </a:p>
        </p:txBody>
      </p:sp>
      <p:sp>
        <p:nvSpPr>
          <p:cNvPr id="17" name="Tijdelijke aanduiding voor afbeelding 3"/>
          <p:cNvSpPr>
            <a:spLocks noGrp="1" noSelect="1"/>
          </p:cNvSpPr>
          <p:nvPr>
            <p:ph type="pic" sz="quarter" idx="16" hasCustomPrompt="1"/>
          </p:nvPr>
        </p:nvSpPr>
        <p:spPr bwMode="gray">
          <a:xfrm>
            <a:off x="4065619" y="5530891"/>
            <a:ext cx="3052142" cy="3399367"/>
          </a:xfrm>
          <a:solidFill>
            <a:schemeClr val="accent6"/>
          </a:solidFill>
        </p:spPr>
        <p:txBody>
          <a:bodyPr/>
          <a:lstStyle>
            <a:lvl1pPr marL="0" marR="0" indent="0" algn="l" defTabSz="582930" rtl="0" eaLnBrk="1" fontAlgn="auto" latinLnBrk="0" hangingPunct="1">
              <a:lnSpc>
                <a:spcPct val="92000"/>
              </a:lnSpc>
              <a:spcBef>
                <a:spcPts val="319"/>
              </a:spcBef>
              <a:spcAft>
                <a:spcPts val="0"/>
              </a:spcAft>
              <a:buClrTx/>
              <a:buSzTx/>
              <a:buFont typeface="Corbel" panose="020B0503020204020204" pitchFamily="34" charset="0"/>
              <a:buNone/>
              <a:tabLst/>
              <a:defRPr/>
            </a:lvl1pPr>
          </a:lstStyle>
          <a:p>
            <a:pPr marL="0" marR="0" lvl="0" indent="0" algn="l" defTabSz="582930" rtl="0" eaLnBrk="1" fontAlgn="auto" latinLnBrk="0" hangingPunct="1">
              <a:lnSpc>
                <a:spcPct val="92000"/>
              </a:lnSpc>
              <a:spcBef>
                <a:spcPts val="319"/>
              </a:spcBef>
              <a:spcAft>
                <a:spcPts val="0"/>
              </a:spcAft>
              <a:buClrTx/>
              <a:buSzTx/>
              <a:buFont typeface="Corbel" panose="020B0503020204020204" pitchFamily="34" charset="0"/>
              <a:buNone/>
              <a:tabLst/>
              <a:defRPr/>
            </a:pPr>
            <a:r>
              <a:rPr lang="en-GB"/>
              <a:t>[Click on icon to insert picture]</a:t>
            </a:r>
          </a:p>
          <a:p>
            <a:endParaRPr lang="en-GB"/>
          </a:p>
        </p:txBody>
      </p:sp>
      <mc:AlternateContent xmlns:mc="http://schemas.openxmlformats.org/markup-compatibility/2006" xmlns:p14="http://schemas.microsoft.com/office/powerpoint/2010/main">
        <mc:Choice Requires="p14">
          <p:contentPart p14:bwMode="gray" r:id="rId2">
            <p14:nvContentPartPr>
              <p14:cNvPr id="19" name="Inkt 18"/>
              <p14:cNvContentPartPr/>
              <p14:nvPr/>
            </p14:nvContentPartPr>
            <p14:xfrm>
              <a:off x="4698090" y="6481689"/>
              <a:ext cx="184" cy="422"/>
            </p14:xfrm>
          </p:contentPart>
        </mc:Choice>
        <mc:Fallback xmlns="">
          <p:pic>
            <p:nvPicPr>
              <p:cNvPr id="19" name="Inkt 18"/>
              <p:cNvPicPr/>
              <p:nvPr/>
            </p:nvPicPr>
            <p:blipFill>
              <a:blip r:embed="rId3"/>
              <a:stretch>
                <a:fillRect/>
              </a:stretch>
            </p:blipFill>
            <p:spPr>
              <a:xfrm>
                <a:off x="4694410" y="6473249"/>
                <a:ext cx="7360" cy="16880"/>
              </a:xfrm>
              <a:prstGeom prst="rect">
                <a:avLst/>
              </a:prstGeom>
            </p:spPr>
          </p:pic>
        </mc:Fallback>
      </mc:AlternateContent>
      <p:sp>
        <p:nvSpPr>
          <p:cNvPr id="2" name="Tijdelijke aanduiding voor voettekst 1"/>
          <p:cNvSpPr>
            <a:spLocks noGrp="1" noSelect="1"/>
          </p:cNvSpPr>
          <p:nvPr>
            <p:ph type="ftr" sz="quarter" idx="17"/>
          </p:nvPr>
        </p:nvSpPr>
        <p:spPr bwMode="gray"/>
        <p:txBody>
          <a:bodyPr/>
          <a:lstStyle/>
          <a:p>
            <a:endParaRPr lang="en-US"/>
          </a:p>
        </p:txBody>
      </p:sp>
      <p:sp>
        <p:nvSpPr>
          <p:cNvPr id="3" name="Tijdelijke aanduiding voor dianummer 2"/>
          <p:cNvSpPr>
            <a:spLocks noGrp="1" noSelect="1"/>
          </p:cNvSpPr>
          <p:nvPr>
            <p:ph type="sldNum" sz="quarter" idx="18"/>
          </p:nvPr>
        </p:nvSpPr>
        <p:spPr bwMode="gray"/>
        <p:txBody>
          <a:bodyPr/>
          <a:lstStyle/>
          <a:p>
            <a:fld id="{ADECF1AC-24A7-42A4-9FAC-3CE63B9FFA68}" type="slidenum">
              <a:rPr lang="en-US" smtClean="0"/>
              <a:t>‹#›</a:t>
            </a:fld>
            <a:endParaRPr lang="en-US"/>
          </a:p>
        </p:txBody>
      </p:sp>
      <p:sp>
        <p:nvSpPr>
          <p:cNvPr id="18" name="***Tijdelijke aanduiding voor tekst 17"/>
          <p:cNvSpPr>
            <a:spLocks noGrp="1" noSelect="1"/>
          </p:cNvSpPr>
          <p:nvPr>
            <p:ph type="body" sz="quarter" idx="19" hasCustomPrompt="1"/>
          </p:nvPr>
        </p:nvSpPr>
        <p:spPr bwMode="gray">
          <a:xfrm>
            <a:off x="612000" y="2692800"/>
            <a:ext cx="3060000" cy="5702400"/>
          </a:xfrm>
        </p:spPr>
        <p:txBody>
          <a:bodyPr/>
          <a:lstStyle>
            <a:lvl1pPr>
              <a:defRPr/>
            </a:lvl1pPr>
          </a:lstStyle>
          <a:p>
            <a:pPr lvl="0"/>
            <a:r>
              <a:rPr lang="en-GB"/>
              <a:t>[Text]</a:t>
            </a:r>
          </a:p>
        </p:txBody>
      </p:sp>
      <p:sp>
        <p:nvSpPr>
          <p:cNvPr id="7" name="Titel 6"/>
          <p:cNvSpPr>
            <a:spLocks noGrp="1" noSelect="1"/>
          </p:cNvSpPr>
          <p:nvPr>
            <p:ph type="title" hasCustomPrompt="1"/>
          </p:nvPr>
        </p:nvSpPr>
        <p:spPr bwMode="gray">
          <a:xfrm>
            <a:off x="612000" y="1016209"/>
            <a:ext cx="3274200" cy="1056000"/>
          </a:xfrm>
        </p:spPr>
        <p:txBody>
          <a:bodyPr/>
          <a:lstStyle>
            <a:lvl1pPr>
              <a:defRPr/>
            </a:lvl1pPr>
          </a:lstStyle>
          <a:p>
            <a:r>
              <a:rPr lang="en-GB" noProof="1"/>
              <a:t>[Title]</a:t>
            </a:r>
            <a:endParaRPr lang="en-GB"/>
          </a:p>
        </p:txBody>
      </p:sp>
      <p:sp>
        <p:nvSpPr>
          <p:cNvPr id="10" name="Streep (PHJU)"/>
          <p:cNvSpPr>
            <a:spLocks noGrp="1" noSelect="1"/>
          </p:cNvSpPr>
          <p:nvPr>
            <p:ph type="body" idx="1003" hasCustomPrompt="1"/>
          </p:nvPr>
        </p:nvSpPr>
        <p:spPr bwMode="gray">
          <a:xfrm>
            <a:off x="604520" y="2233449"/>
            <a:ext cx="1209040" cy="528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Tree>
    <p:extLst>
      <p:ext uri="{BB962C8B-B14F-4D97-AF65-F5344CB8AC3E}">
        <p14:creationId xmlns:p14="http://schemas.microsoft.com/office/powerpoint/2010/main" val="14766042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ext, 3 images">
    <p:spTree>
      <p:nvGrpSpPr>
        <p:cNvPr id="1" name=""/>
        <p:cNvGrpSpPr/>
        <p:nvPr/>
      </p:nvGrpSpPr>
      <p:grpSpPr>
        <a:xfrm>
          <a:off x="0" y="0"/>
          <a:ext cx="0" cy="0"/>
          <a:chOff x="0" y="0"/>
          <a:chExt cx="0" cy="0"/>
        </a:xfrm>
      </p:grpSpPr>
      <p:sp>
        <p:nvSpPr>
          <p:cNvPr id="17" name="Tijdelijke aanduiding voor afbeelding 3"/>
          <p:cNvSpPr>
            <a:spLocks noGrp="1" noSelect="1"/>
          </p:cNvSpPr>
          <p:nvPr>
            <p:ph type="pic" sz="quarter" idx="16" hasCustomPrompt="1"/>
          </p:nvPr>
        </p:nvSpPr>
        <p:spPr bwMode="gray">
          <a:xfrm>
            <a:off x="4065621" y="4730880"/>
            <a:ext cx="2628823" cy="4461600"/>
          </a:xfrm>
          <a:solidFill>
            <a:schemeClr val="accent6"/>
          </a:solidFill>
        </p:spPr>
        <p:txBody>
          <a:bodyPr/>
          <a:lstStyle>
            <a:lvl1pPr marL="0" marR="0" indent="0" algn="l" defTabSz="582930" rtl="0" eaLnBrk="1" fontAlgn="auto" latinLnBrk="0" hangingPunct="1">
              <a:lnSpc>
                <a:spcPct val="92000"/>
              </a:lnSpc>
              <a:spcBef>
                <a:spcPts val="319"/>
              </a:spcBef>
              <a:spcAft>
                <a:spcPts val="0"/>
              </a:spcAft>
              <a:buClrTx/>
              <a:buSzTx/>
              <a:buFont typeface="Corbel" panose="020B0503020204020204" pitchFamily="34" charset="0"/>
              <a:buNone/>
              <a:tabLst/>
              <a:defRPr/>
            </a:lvl1pPr>
          </a:lstStyle>
          <a:p>
            <a:pPr marL="0" marR="0" lvl="0" indent="0" algn="l" defTabSz="582930" rtl="0" eaLnBrk="1" fontAlgn="auto" latinLnBrk="0" hangingPunct="1">
              <a:lnSpc>
                <a:spcPct val="92000"/>
              </a:lnSpc>
              <a:spcBef>
                <a:spcPts val="319"/>
              </a:spcBef>
              <a:spcAft>
                <a:spcPts val="0"/>
              </a:spcAft>
              <a:buClrTx/>
              <a:buSzTx/>
              <a:buFont typeface="Corbel" panose="020B0503020204020204" pitchFamily="34" charset="0"/>
              <a:buNone/>
              <a:tabLst/>
              <a:defRPr/>
            </a:pPr>
            <a:r>
              <a:rPr lang="en-GB"/>
              <a:t>[Click on icon to insert picture]</a:t>
            </a:r>
          </a:p>
          <a:p>
            <a:endParaRPr lang="en-GB"/>
          </a:p>
        </p:txBody>
      </p:sp>
      <p:sp>
        <p:nvSpPr>
          <p:cNvPr id="18" name="Tijdelijke aanduiding voor afbeelding 3"/>
          <p:cNvSpPr>
            <a:spLocks noGrp="1" noSelect="1"/>
          </p:cNvSpPr>
          <p:nvPr>
            <p:ph type="pic" sz="quarter" idx="17" hasCustomPrompt="1"/>
          </p:nvPr>
        </p:nvSpPr>
        <p:spPr bwMode="gray">
          <a:xfrm>
            <a:off x="5849140" y="2418225"/>
            <a:ext cx="1667700" cy="2191200"/>
          </a:xfrm>
          <a:solidFill>
            <a:schemeClr val="accent6"/>
          </a:solidFill>
        </p:spPr>
        <p:txBody>
          <a:bodyPr/>
          <a:lstStyle>
            <a:lvl1pPr marL="0" marR="0" indent="0" algn="l" defTabSz="582930" rtl="0" eaLnBrk="1" fontAlgn="auto" latinLnBrk="0" hangingPunct="1">
              <a:lnSpc>
                <a:spcPct val="92000"/>
              </a:lnSpc>
              <a:spcBef>
                <a:spcPts val="319"/>
              </a:spcBef>
              <a:spcAft>
                <a:spcPts val="0"/>
              </a:spcAft>
              <a:buClrTx/>
              <a:buSzTx/>
              <a:buFont typeface="Corbel" panose="020B0503020204020204" pitchFamily="34" charset="0"/>
              <a:buNone/>
              <a:tabLst/>
              <a:defRPr/>
            </a:lvl1pPr>
          </a:lstStyle>
          <a:p>
            <a:pPr marL="0" marR="0" lvl="0" indent="0" algn="l" defTabSz="582930" rtl="0" eaLnBrk="1" fontAlgn="auto" latinLnBrk="0" hangingPunct="1">
              <a:lnSpc>
                <a:spcPct val="92000"/>
              </a:lnSpc>
              <a:spcBef>
                <a:spcPts val="319"/>
              </a:spcBef>
              <a:spcAft>
                <a:spcPts val="0"/>
              </a:spcAft>
              <a:buClrTx/>
              <a:buSzTx/>
              <a:buFont typeface="Corbel" panose="020B0503020204020204" pitchFamily="34" charset="0"/>
              <a:buNone/>
              <a:tabLst/>
              <a:defRPr/>
            </a:pPr>
            <a:r>
              <a:rPr lang="en-GB"/>
              <a:t>[Click on icon to insert picture]</a:t>
            </a:r>
          </a:p>
          <a:p>
            <a:endParaRPr lang="en-GB"/>
          </a:p>
        </p:txBody>
      </p:sp>
      <p:sp>
        <p:nvSpPr>
          <p:cNvPr id="23" name="Tijdelijke aanduiding voor afbeelding 3"/>
          <p:cNvSpPr>
            <a:spLocks noGrp="1" noSelect="1"/>
          </p:cNvSpPr>
          <p:nvPr>
            <p:ph type="pic" sz="quarter" idx="18" hasCustomPrompt="1"/>
          </p:nvPr>
        </p:nvSpPr>
        <p:spPr bwMode="gray">
          <a:xfrm>
            <a:off x="4065621" y="1283025"/>
            <a:ext cx="1713600" cy="3326400"/>
          </a:xfrm>
          <a:solidFill>
            <a:schemeClr val="accent6"/>
          </a:solidFill>
        </p:spPr>
        <p:txBody>
          <a:bodyPr/>
          <a:lstStyle>
            <a:lvl1pPr marL="0" indent="0">
              <a:buNone/>
              <a:defRPr/>
            </a:lvl1pPr>
          </a:lstStyle>
          <a:p>
            <a:r>
              <a:rPr lang="en-GB"/>
              <a:t>[Click on icon to insert picture]</a:t>
            </a:r>
          </a:p>
        </p:txBody>
      </p:sp>
      <p:sp>
        <p:nvSpPr>
          <p:cNvPr id="2" name="Tijdelijke aanduiding voor voettekst 1"/>
          <p:cNvSpPr>
            <a:spLocks noGrp="1" noSelect="1"/>
          </p:cNvSpPr>
          <p:nvPr>
            <p:ph type="ftr" sz="quarter" idx="19"/>
          </p:nvPr>
        </p:nvSpPr>
        <p:spPr bwMode="gray"/>
        <p:txBody>
          <a:bodyPr/>
          <a:lstStyle/>
          <a:p>
            <a:endParaRPr lang="en-US"/>
          </a:p>
        </p:txBody>
      </p:sp>
      <p:sp>
        <p:nvSpPr>
          <p:cNvPr id="3" name="Tijdelijke aanduiding voor dianummer 2"/>
          <p:cNvSpPr>
            <a:spLocks noGrp="1" noSelect="1"/>
          </p:cNvSpPr>
          <p:nvPr>
            <p:ph type="sldNum" sz="quarter" idx="20"/>
          </p:nvPr>
        </p:nvSpPr>
        <p:spPr bwMode="gray"/>
        <p:txBody>
          <a:bodyPr/>
          <a:lstStyle/>
          <a:p>
            <a:fld id="{ADECF1AC-24A7-42A4-9FAC-3CE63B9FFA68}" type="slidenum">
              <a:rPr lang="en-US" smtClean="0"/>
              <a:t>‹#›</a:t>
            </a:fld>
            <a:endParaRPr lang="en-US"/>
          </a:p>
        </p:txBody>
      </p:sp>
      <p:sp>
        <p:nvSpPr>
          <p:cNvPr id="20" name="***Tijdelijke aanduiding voor tekst 17"/>
          <p:cNvSpPr>
            <a:spLocks noGrp="1" noSelect="1"/>
          </p:cNvSpPr>
          <p:nvPr>
            <p:ph type="body" sz="quarter" idx="21" hasCustomPrompt="1"/>
          </p:nvPr>
        </p:nvSpPr>
        <p:spPr bwMode="gray">
          <a:xfrm>
            <a:off x="612000" y="2692800"/>
            <a:ext cx="3060000" cy="5702400"/>
          </a:xfrm>
        </p:spPr>
        <p:txBody>
          <a:bodyPr/>
          <a:lstStyle>
            <a:lvl1pPr>
              <a:defRPr/>
            </a:lvl1pPr>
          </a:lstStyle>
          <a:p>
            <a:pPr lvl="0"/>
            <a:r>
              <a:rPr lang="en-GB"/>
              <a:t>[Text]</a:t>
            </a:r>
          </a:p>
        </p:txBody>
      </p:sp>
      <p:sp>
        <p:nvSpPr>
          <p:cNvPr id="5" name="Titel 4"/>
          <p:cNvSpPr>
            <a:spLocks noGrp="1" noSelect="1"/>
          </p:cNvSpPr>
          <p:nvPr>
            <p:ph type="title" hasCustomPrompt="1"/>
          </p:nvPr>
        </p:nvSpPr>
        <p:spPr bwMode="gray">
          <a:xfrm>
            <a:off x="612000" y="1016209"/>
            <a:ext cx="3274200" cy="1056000"/>
          </a:xfrm>
        </p:spPr>
        <p:txBody>
          <a:bodyPr/>
          <a:lstStyle>
            <a:lvl1pPr>
              <a:defRPr/>
            </a:lvl1pPr>
          </a:lstStyle>
          <a:p>
            <a:r>
              <a:rPr lang="en-GB" noProof="1"/>
              <a:t>[Title]</a:t>
            </a:r>
            <a:endParaRPr lang="en-GB"/>
          </a:p>
        </p:txBody>
      </p:sp>
      <p:sp>
        <p:nvSpPr>
          <p:cNvPr id="10" name="Streep (PHJU)"/>
          <p:cNvSpPr>
            <a:spLocks noGrp="1" noSelect="1"/>
          </p:cNvSpPr>
          <p:nvPr>
            <p:ph type="body" idx="1003" hasCustomPrompt="1"/>
          </p:nvPr>
        </p:nvSpPr>
        <p:spPr bwMode="gray">
          <a:xfrm>
            <a:off x="604520" y="2233449"/>
            <a:ext cx="1209040" cy="528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a:lvl1pPr>
          </a:lstStyle>
          <a:p>
            <a:pPr algn="ctr"/>
            <a:r>
              <a:rPr lang="en-GB"/>
              <a:t> </a:t>
            </a:r>
          </a:p>
        </p:txBody>
      </p:sp>
    </p:spTree>
    <p:extLst>
      <p:ext uri="{BB962C8B-B14F-4D97-AF65-F5344CB8AC3E}">
        <p14:creationId xmlns:p14="http://schemas.microsoft.com/office/powerpoint/2010/main" val="25168456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7"/>
            </p:custDataLst>
            <p:extLst>
              <p:ext uri="{D42A27DB-BD31-4B8C-83A1-F6EECF244321}">
                <p14:modId xmlns:p14="http://schemas.microsoft.com/office/powerpoint/2010/main" val="2520687678"/>
              </p:ext>
            </p:extLst>
          </p:nvPr>
        </p:nvGraphicFramePr>
        <p:xfrm>
          <a:off x="1350" y="2330"/>
          <a:ext cx="1349" cy="2328"/>
        </p:xfrm>
        <a:graphic>
          <a:graphicData uri="http://schemas.openxmlformats.org/presentationml/2006/ole">
            <mc:AlternateContent xmlns:mc="http://schemas.openxmlformats.org/markup-compatibility/2006">
              <mc:Choice xmlns:v="urn:schemas-microsoft-com:vml" Requires="v">
                <p:oleObj spid="_x0000_s1027" name="think-cell Slide" r:id="rId28" imgW="286" imgH="286" progId="TCLayout.ActiveDocument.1">
                  <p:embed/>
                </p:oleObj>
              </mc:Choice>
              <mc:Fallback>
                <p:oleObj name="think-cell Slide" r:id="rId28" imgW="286" imgH="286" progId="TCLayout.ActiveDocument.1">
                  <p:embed/>
                  <p:pic>
                    <p:nvPicPr>
                      <p:cNvPr id="4" name="Object 3" hidden="1"/>
                      <p:cNvPicPr/>
                      <p:nvPr/>
                    </p:nvPicPr>
                    <p:blipFill>
                      <a:blip r:embed="rId29"/>
                      <a:stretch>
                        <a:fillRect/>
                      </a:stretch>
                    </p:blipFill>
                    <p:spPr>
                      <a:xfrm>
                        <a:off x="1350" y="2330"/>
                        <a:ext cx="1349" cy="2328"/>
                      </a:xfrm>
                      <a:prstGeom prst="rect">
                        <a:avLst/>
                      </a:prstGeom>
                    </p:spPr>
                  </p:pic>
                </p:oleObj>
              </mc:Fallback>
            </mc:AlternateContent>
          </a:graphicData>
        </a:graphic>
      </p:graphicFrame>
      <p:sp>
        <p:nvSpPr>
          <p:cNvPr id="2" name="Tijdelijke aanduiding voor titel 1"/>
          <p:cNvSpPr>
            <a:spLocks noGrp="1" noSelect="1"/>
          </p:cNvSpPr>
          <p:nvPr>
            <p:ph type="title"/>
          </p:nvPr>
        </p:nvSpPr>
        <p:spPr bwMode="gray">
          <a:xfrm>
            <a:off x="612000" y="1016209"/>
            <a:ext cx="6487200" cy="1056000"/>
          </a:xfrm>
          <a:prstGeom prst="rect">
            <a:avLst/>
          </a:prstGeom>
        </p:spPr>
        <p:txBody>
          <a:bodyPr vert="horz" lIns="0" tIns="0" rIns="0" bIns="0" rtlCol="0" anchor="b">
            <a:noAutofit/>
          </a:bodyPr>
          <a:lstStyle/>
          <a:p>
            <a:r>
              <a:rPr lang="en-GB" noProof="1"/>
              <a:t>[Title]</a:t>
            </a:r>
          </a:p>
        </p:txBody>
      </p:sp>
      <p:sp>
        <p:nvSpPr>
          <p:cNvPr id="3" name="Text Placeholder 2 (JU-Free)"/>
          <p:cNvSpPr>
            <a:spLocks noGrp="1"/>
          </p:cNvSpPr>
          <p:nvPr>
            <p:ph type="body" idx="1"/>
          </p:nvPr>
        </p:nvSpPr>
        <p:spPr bwMode="gray">
          <a:xfrm>
            <a:off x="612000" y="2692800"/>
            <a:ext cx="6487200" cy="5280000"/>
          </a:xfrm>
          <a:prstGeom prst="rect">
            <a:avLst/>
          </a:prstGeom>
        </p:spPr>
        <p:txBody>
          <a:bodyPr vert="horz" lIns="0" tIns="0" rIns="0" bIns="0" rtlCol="0">
            <a:noAutofit/>
          </a:bodyPr>
          <a:lstStyle/>
          <a:p>
            <a:pPr lvl="0"/>
            <a:r>
              <a:rPr lang="en-GB" noProof="1"/>
              <a:t>JU-LEVEL1=List 1st level</a:t>
            </a:r>
          </a:p>
          <a:p>
            <a:pPr lvl="1"/>
            <a:r>
              <a:rPr lang="en-GB" noProof="1"/>
              <a:t>JU-LEVEL2=List 2nd level</a:t>
            </a:r>
          </a:p>
          <a:p>
            <a:pPr lvl="2"/>
            <a:r>
              <a:rPr lang="en-GB" noProof="1"/>
              <a:t>JU-LEVEL3=Subtitle or streamer</a:t>
            </a:r>
          </a:p>
          <a:p>
            <a:pPr lvl="3"/>
            <a:r>
              <a:rPr lang="en-GB" noProof="1"/>
              <a:t>JU-LEVEL4=Body text</a:t>
            </a:r>
          </a:p>
          <a:p>
            <a:pPr lvl="4"/>
            <a:r>
              <a:rPr lang="en-GB" noProof="1"/>
              <a:t>JU-LEVEL5=Indent 1st level</a:t>
            </a:r>
          </a:p>
          <a:p>
            <a:pPr lvl="5"/>
            <a:r>
              <a:rPr lang="en-GB" noProof="1"/>
              <a:t>JU-LEVEL6=Indent 2nd level</a:t>
            </a:r>
          </a:p>
        </p:txBody>
      </p:sp>
      <p:sp>
        <p:nvSpPr>
          <p:cNvPr id="6" name="Tijdelijke aanduiding voor dianummer 5"/>
          <p:cNvSpPr>
            <a:spLocks noGrp="1" noSelect="1"/>
          </p:cNvSpPr>
          <p:nvPr>
            <p:ph type="sldNum" sz="quarter" idx="4"/>
          </p:nvPr>
        </p:nvSpPr>
        <p:spPr bwMode="gray">
          <a:xfrm>
            <a:off x="7306537" y="338471"/>
            <a:ext cx="347443" cy="422400"/>
          </a:xfrm>
          <a:prstGeom prst="rect">
            <a:avLst/>
          </a:prstGeom>
        </p:spPr>
        <p:txBody>
          <a:bodyPr vert="horz" lIns="0" tIns="0" rIns="0" bIns="0" rtlCol="0" anchor="t">
            <a:noAutofit/>
          </a:bodyPr>
          <a:lstStyle>
            <a:lvl1pPr algn="l">
              <a:defRPr sz="765" baseline="0">
                <a:solidFill>
                  <a:schemeClr val="tx1"/>
                </a:solidFill>
                <a:latin typeface="+mj-lt"/>
              </a:defRPr>
            </a:lvl1pPr>
          </a:lstStyle>
          <a:p>
            <a:fld id="{ADECF1AC-24A7-42A4-9FAC-3CE63B9FFA68}" type="slidenum">
              <a:rPr lang="en-US" smtClean="0"/>
              <a:t>‹#›</a:t>
            </a:fld>
            <a:endParaRPr lang="en-US"/>
          </a:p>
        </p:txBody>
      </p:sp>
      <p:sp>
        <p:nvSpPr>
          <p:cNvPr id="13" name="Tijdelijke aanduiding voor voettekst 4"/>
          <p:cNvSpPr>
            <a:spLocks noGrp="1" noSelect="1"/>
          </p:cNvSpPr>
          <p:nvPr>
            <p:ph type="ftr" sz="quarter" idx="3"/>
          </p:nvPr>
        </p:nvSpPr>
        <p:spPr bwMode="gray">
          <a:xfrm>
            <a:off x="629673" y="338472"/>
            <a:ext cx="6394633" cy="718458"/>
          </a:xfrm>
          <a:prstGeom prst="rect">
            <a:avLst/>
          </a:prstGeom>
        </p:spPr>
        <p:txBody>
          <a:bodyPr vert="horz" lIns="0" tIns="0" rIns="0" bIns="0" rtlCol="0" anchor="t">
            <a:noAutofit/>
          </a:bodyPr>
          <a:lstStyle>
            <a:lvl1pPr algn="l">
              <a:defRPr sz="765" cap="all" spc="60" baseline="0">
                <a:solidFill>
                  <a:schemeClr val="tx1"/>
                </a:solidFill>
                <a:latin typeface="+mj-lt"/>
              </a:defRPr>
            </a:lvl1pPr>
          </a:lstStyle>
          <a:p>
            <a:endParaRPr lang="en-US"/>
          </a:p>
        </p:txBody>
      </p:sp>
      <p:grpSp>
        <p:nvGrpSpPr>
          <p:cNvPr id="22" name="Group 4"/>
          <p:cNvGrpSpPr>
            <a:grpSpLocks noSelect="1" noChangeAspect="1"/>
          </p:cNvGrpSpPr>
          <p:nvPr/>
        </p:nvGrpSpPr>
        <p:grpSpPr bwMode="gray">
          <a:xfrm>
            <a:off x="636480" y="9472321"/>
            <a:ext cx="1211760" cy="388307"/>
            <a:chOff x="634" y="3938"/>
            <a:chExt cx="1190" cy="221"/>
          </a:xfrm>
        </p:grpSpPr>
        <p:sp>
          <p:nvSpPr>
            <p:cNvPr id="23" name="Freeform 5"/>
            <p:cNvSpPr>
              <a:spLocks noSelect="1"/>
            </p:cNvSpPr>
            <p:nvPr/>
          </p:nvSpPr>
          <p:spPr bwMode="gray">
            <a:xfrm>
              <a:off x="845" y="3995"/>
              <a:ext cx="979" cy="122"/>
            </a:xfrm>
            <a:custGeom>
              <a:avLst/>
              <a:gdLst>
                <a:gd name="T0" fmla="*/ 1067 w 2611"/>
                <a:gd name="T1" fmla="*/ 265 h 324"/>
                <a:gd name="T2" fmla="*/ 936 w 2611"/>
                <a:gd name="T3" fmla="*/ 297 h 324"/>
                <a:gd name="T4" fmla="*/ 1080 w 2611"/>
                <a:gd name="T5" fmla="*/ 166 h 324"/>
                <a:gd name="T6" fmla="*/ 1029 w 2611"/>
                <a:gd name="T7" fmla="*/ 165 h 324"/>
                <a:gd name="T8" fmla="*/ 994 w 2611"/>
                <a:gd name="T9" fmla="*/ 198 h 324"/>
                <a:gd name="T10" fmla="*/ 2292 w 2611"/>
                <a:gd name="T11" fmla="*/ 265 h 324"/>
                <a:gd name="T12" fmla="*/ 2161 w 2611"/>
                <a:gd name="T13" fmla="*/ 297 h 324"/>
                <a:gd name="T14" fmla="*/ 2305 w 2611"/>
                <a:gd name="T15" fmla="*/ 166 h 324"/>
                <a:gd name="T16" fmla="*/ 2254 w 2611"/>
                <a:gd name="T17" fmla="*/ 165 h 324"/>
                <a:gd name="T18" fmla="*/ 2219 w 2611"/>
                <a:gd name="T19" fmla="*/ 198 h 324"/>
                <a:gd name="T20" fmla="*/ 2598 w 2611"/>
                <a:gd name="T21" fmla="*/ 265 h 324"/>
                <a:gd name="T22" fmla="*/ 2466 w 2611"/>
                <a:gd name="T23" fmla="*/ 297 h 324"/>
                <a:gd name="T24" fmla="*/ 2611 w 2611"/>
                <a:gd name="T25" fmla="*/ 166 h 324"/>
                <a:gd name="T26" fmla="*/ 2560 w 2611"/>
                <a:gd name="T27" fmla="*/ 165 h 324"/>
                <a:gd name="T28" fmla="*/ 2525 w 2611"/>
                <a:gd name="T29" fmla="*/ 198 h 324"/>
                <a:gd name="T30" fmla="*/ 1611 w 2611"/>
                <a:gd name="T31" fmla="*/ 208 h 324"/>
                <a:gd name="T32" fmla="*/ 1516 w 2611"/>
                <a:gd name="T33" fmla="*/ 136 h 324"/>
                <a:gd name="T34" fmla="*/ 1640 w 2611"/>
                <a:gd name="T35" fmla="*/ 208 h 324"/>
                <a:gd name="T36" fmla="*/ 1735 w 2611"/>
                <a:gd name="T37" fmla="*/ 279 h 324"/>
                <a:gd name="T38" fmla="*/ 1735 w 2611"/>
                <a:gd name="T39" fmla="*/ 279 h 324"/>
                <a:gd name="T40" fmla="*/ 119 w 2611"/>
                <a:gd name="T41" fmla="*/ 247 h 324"/>
                <a:gd name="T42" fmla="*/ 0 w 2611"/>
                <a:gd name="T43" fmla="*/ 13 h 324"/>
                <a:gd name="T44" fmla="*/ 151 w 2611"/>
                <a:gd name="T45" fmla="*/ 312 h 324"/>
                <a:gd name="T46" fmla="*/ 840 w 2611"/>
                <a:gd name="T47" fmla="*/ 1 h 324"/>
                <a:gd name="T48" fmla="*/ 766 w 2611"/>
                <a:gd name="T49" fmla="*/ 91 h 324"/>
                <a:gd name="T50" fmla="*/ 760 w 2611"/>
                <a:gd name="T51" fmla="*/ 323 h 324"/>
                <a:gd name="T52" fmla="*/ 888 w 2611"/>
                <a:gd name="T53" fmla="*/ 295 h 324"/>
                <a:gd name="T54" fmla="*/ 864 w 2611"/>
                <a:gd name="T55" fmla="*/ 264 h 324"/>
                <a:gd name="T56" fmla="*/ 738 w 2611"/>
                <a:gd name="T57" fmla="*/ 206 h 324"/>
                <a:gd name="T58" fmla="*/ 810 w 2611"/>
                <a:gd name="T59" fmla="*/ 213 h 324"/>
                <a:gd name="T60" fmla="*/ 642 w 2611"/>
                <a:gd name="T61" fmla="*/ 281 h 324"/>
                <a:gd name="T62" fmla="*/ 523 w 2611"/>
                <a:gd name="T63" fmla="*/ 115 h 324"/>
                <a:gd name="T64" fmla="*/ 470 w 2611"/>
                <a:gd name="T65" fmla="*/ 150 h 324"/>
                <a:gd name="T66" fmla="*/ 525 w 2611"/>
                <a:gd name="T67" fmla="*/ 316 h 324"/>
                <a:gd name="T68" fmla="*/ 557 w 2611"/>
                <a:gd name="T69" fmla="*/ 138 h 324"/>
                <a:gd name="T70" fmla="*/ 624 w 2611"/>
                <a:gd name="T71" fmla="*/ 322 h 324"/>
                <a:gd name="T72" fmla="*/ 1394 w 2611"/>
                <a:gd name="T73" fmla="*/ 283 h 324"/>
                <a:gd name="T74" fmla="*/ 1315 w 2611"/>
                <a:gd name="T75" fmla="*/ 94 h 324"/>
                <a:gd name="T76" fmla="*/ 1166 w 2611"/>
                <a:gd name="T77" fmla="*/ 117 h 324"/>
                <a:gd name="T78" fmla="*/ 1113 w 2611"/>
                <a:gd name="T79" fmla="*/ 299 h 324"/>
                <a:gd name="T80" fmla="*/ 1195 w 2611"/>
                <a:gd name="T81" fmla="*/ 140 h 324"/>
                <a:gd name="T82" fmla="*/ 1245 w 2611"/>
                <a:gd name="T83" fmla="*/ 322 h 324"/>
                <a:gd name="T84" fmla="*/ 1318 w 2611"/>
                <a:gd name="T85" fmla="*/ 147 h 324"/>
                <a:gd name="T86" fmla="*/ 1367 w 2611"/>
                <a:gd name="T87" fmla="*/ 322 h 324"/>
                <a:gd name="T88" fmla="*/ 1889 w 2611"/>
                <a:gd name="T89" fmla="*/ 322 h 324"/>
                <a:gd name="T90" fmla="*/ 1971 w 2611"/>
                <a:gd name="T91" fmla="*/ 146 h 324"/>
                <a:gd name="T92" fmla="*/ 1915 w 2611"/>
                <a:gd name="T93" fmla="*/ 110 h 324"/>
                <a:gd name="T94" fmla="*/ 1864 w 2611"/>
                <a:gd name="T95" fmla="*/ 299 h 324"/>
                <a:gd name="T96" fmla="*/ 2079 w 2611"/>
                <a:gd name="T97" fmla="*/ 277 h 324"/>
                <a:gd name="T98" fmla="*/ 2112 w 2611"/>
                <a:gd name="T99" fmla="*/ 114 h 324"/>
                <a:gd name="T100" fmla="*/ 2038 w 2611"/>
                <a:gd name="T101" fmla="*/ 46 h 324"/>
                <a:gd name="T102" fmla="*/ 2064 w 2611"/>
                <a:gd name="T103" fmla="*/ 323 h 324"/>
                <a:gd name="T104" fmla="*/ 2379 w 2611"/>
                <a:gd name="T105" fmla="*/ 323 h 324"/>
                <a:gd name="T106" fmla="*/ 2397 w 2611"/>
                <a:gd name="T107" fmla="*/ 281 h 324"/>
                <a:gd name="T108" fmla="*/ 2369 w 2611"/>
                <a:gd name="T109" fmla="*/ 1 h 324"/>
                <a:gd name="T110" fmla="*/ 385 w 2611"/>
                <a:gd name="T111" fmla="*/ 96 h 324"/>
                <a:gd name="T112" fmla="*/ 232 w 2611"/>
                <a:gd name="T113" fmla="*/ 202 h 324"/>
                <a:gd name="T114" fmla="*/ 370 w 2611"/>
                <a:gd name="T115" fmla="*/ 310 h 324"/>
                <a:gd name="T116" fmla="*/ 426 w 2611"/>
                <a:gd name="T117" fmla="*/ 283 h 324"/>
                <a:gd name="T118" fmla="*/ 385 w 2611"/>
                <a:gd name="T119" fmla="*/ 96 h 324"/>
                <a:gd name="T120" fmla="*/ 323 w 2611"/>
                <a:gd name="T121" fmla="*/ 137 h 324"/>
                <a:gd name="T122" fmla="*/ 323 w 2611"/>
                <a:gd name="T123" fmla="*/ 277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11" h="324">
                  <a:moveTo>
                    <a:pt x="961" y="232"/>
                  </a:moveTo>
                  <a:cubicBezTo>
                    <a:pt x="966" y="262"/>
                    <a:pt x="982" y="279"/>
                    <a:pt x="1010" y="279"/>
                  </a:cubicBezTo>
                  <a:cubicBezTo>
                    <a:pt x="1026" y="279"/>
                    <a:pt x="1042" y="274"/>
                    <a:pt x="1054" y="270"/>
                  </a:cubicBezTo>
                  <a:cubicBezTo>
                    <a:pt x="1060" y="268"/>
                    <a:pt x="1067" y="265"/>
                    <a:pt x="1067" y="265"/>
                  </a:cubicBezTo>
                  <a:cubicBezTo>
                    <a:pt x="1067" y="265"/>
                    <a:pt x="1074" y="274"/>
                    <a:pt x="1074" y="282"/>
                  </a:cubicBezTo>
                  <a:cubicBezTo>
                    <a:pt x="1075" y="292"/>
                    <a:pt x="1073" y="300"/>
                    <a:pt x="1064" y="307"/>
                  </a:cubicBezTo>
                  <a:cubicBezTo>
                    <a:pt x="1051" y="318"/>
                    <a:pt x="1028" y="324"/>
                    <a:pt x="1005" y="324"/>
                  </a:cubicBezTo>
                  <a:cubicBezTo>
                    <a:pt x="975" y="324"/>
                    <a:pt x="952" y="315"/>
                    <a:pt x="936" y="297"/>
                  </a:cubicBezTo>
                  <a:cubicBezTo>
                    <a:pt x="916" y="276"/>
                    <a:pt x="907" y="244"/>
                    <a:pt x="907" y="201"/>
                  </a:cubicBezTo>
                  <a:cubicBezTo>
                    <a:pt x="909" y="130"/>
                    <a:pt x="940" y="91"/>
                    <a:pt x="995" y="91"/>
                  </a:cubicBezTo>
                  <a:cubicBezTo>
                    <a:pt x="1025" y="91"/>
                    <a:pt x="1049" y="98"/>
                    <a:pt x="1064" y="114"/>
                  </a:cubicBezTo>
                  <a:cubicBezTo>
                    <a:pt x="1076" y="127"/>
                    <a:pt x="1080" y="145"/>
                    <a:pt x="1080" y="166"/>
                  </a:cubicBezTo>
                  <a:cubicBezTo>
                    <a:pt x="1078" y="210"/>
                    <a:pt x="1045" y="234"/>
                    <a:pt x="997" y="234"/>
                  </a:cubicBezTo>
                  <a:cubicBezTo>
                    <a:pt x="985" y="234"/>
                    <a:pt x="974" y="233"/>
                    <a:pt x="961" y="232"/>
                  </a:cubicBezTo>
                  <a:moveTo>
                    <a:pt x="994" y="198"/>
                  </a:moveTo>
                  <a:cubicBezTo>
                    <a:pt x="1018" y="198"/>
                    <a:pt x="1029" y="187"/>
                    <a:pt x="1029" y="165"/>
                  </a:cubicBezTo>
                  <a:cubicBezTo>
                    <a:pt x="1030" y="154"/>
                    <a:pt x="1027" y="144"/>
                    <a:pt x="1022" y="139"/>
                  </a:cubicBezTo>
                  <a:cubicBezTo>
                    <a:pt x="1017" y="133"/>
                    <a:pt x="1010" y="130"/>
                    <a:pt x="1000" y="130"/>
                  </a:cubicBezTo>
                  <a:cubicBezTo>
                    <a:pt x="974" y="130"/>
                    <a:pt x="962" y="153"/>
                    <a:pt x="961" y="197"/>
                  </a:cubicBezTo>
                  <a:cubicBezTo>
                    <a:pt x="975" y="198"/>
                    <a:pt x="982" y="198"/>
                    <a:pt x="994" y="198"/>
                  </a:cubicBezTo>
                  <a:moveTo>
                    <a:pt x="2186" y="232"/>
                  </a:moveTo>
                  <a:cubicBezTo>
                    <a:pt x="2191" y="262"/>
                    <a:pt x="2207" y="279"/>
                    <a:pt x="2235" y="279"/>
                  </a:cubicBezTo>
                  <a:cubicBezTo>
                    <a:pt x="2251" y="279"/>
                    <a:pt x="2267" y="274"/>
                    <a:pt x="2279" y="270"/>
                  </a:cubicBezTo>
                  <a:cubicBezTo>
                    <a:pt x="2285" y="268"/>
                    <a:pt x="2292" y="265"/>
                    <a:pt x="2292" y="265"/>
                  </a:cubicBezTo>
                  <a:cubicBezTo>
                    <a:pt x="2292" y="265"/>
                    <a:pt x="2299" y="274"/>
                    <a:pt x="2299" y="282"/>
                  </a:cubicBezTo>
                  <a:cubicBezTo>
                    <a:pt x="2300" y="292"/>
                    <a:pt x="2298" y="300"/>
                    <a:pt x="2289" y="307"/>
                  </a:cubicBezTo>
                  <a:cubicBezTo>
                    <a:pt x="2276" y="318"/>
                    <a:pt x="2253" y="324"/>
                    <a:pt x="2229" y="324"/>
                  </a:cubicBezTo>
                  <a:cubicBezTo>
                    <a:pt x="2200" y="324"/>
                    <a:pt x="2177" y="315"/>
                    <a:pt x="2161" y="297"/>
                  </a:cubicBezTo>
                  <a:cubicBezTo>
                    <a:pt x="2141" y="276"/>
                    <a:pt x="2131" y="244"/>
                    <a:pt x="2132" y="201"/>
                  </a:cubicBezTo>
                  <a:cubicBezTo>
                    <a:pt x="2134" y="130"/>
                    <a:pt x="2165" y="91"/>
                    <a:pt x="2220" y="91"/>
                  </a:cubicBezTo>
                  <a:cubicBezTo>
                    <a:pt x="2250" y="91"/>
                    <a:pt x="2274" y="98"/>
                    <a:pt x="2289" y="114"/>
                  </a:cubicBezTo>
                  <a:cubicBezTo>
                    <a:pt x="2301" y="127"/>
                    <a:pt x="2305" y="145"/>
                    <a:pt x="2305" y="166"/>
                  </a:cubicBezTo>
                  <a:cubicBezTo>
                    <a:pt x="2303" y="210"/>
                    <a:pt x="2270" y="234"/>
                    <a:pt x="2222" y="234"/>
                  </a:cubicBezTo>
                  <a:cubicBezTo>
                    <a:pt x="2210" y="234"/>
                    <a:pt x="2199" y="233"/>
                    <a:pt x="2186" y="232"/>
                  </a:cubicBezTo>
                  <a:moveTo>
                    <a:pt x="2219" y="198"/>
                  </a:moveTo>
                  <a:cubicBezTo>
                    <a:pt x="2243" y="198"/>
                    <a:pt x="2254" y="187"/>
                    <a:pt x="2254" y="165"/>
                  </a:cubicBezTo>
                  <a:cubicBezTo>
                    <a:pt x="2255" y="154"/>
                    <a:pt x="2252" y="144"/>
                    <a:pt x="2247" y="139"/>
                  </a:cubicBezTo>
                  <a:cubicBezTo>
                    <a:pt x="2242" y="133"/>
                    <a:pt x="2235" y="130"/>
                    <a:pt x="2225" y="130"/>
                  </a:cubicBezTo>
                  <a:cubicBezTo>
                    <a:pt x="2199" y="130"/>
                    <a:pt x="2187" y="153"/>
                    <a:pt x="2186" y="197"/>
                  </a:cubicBezTo>
                  <a:cubicBezTo>
                    <a:pt x="2200" y="198"/>
                    <a:pt x="2207" y="198"/>
                    <a:pt x="2219" y="198"/>
                  </a:cubicBezTo>
                  <a:moveTo>
                    <a:pt x="2492" y="232"/>
                  </a:moveTo>
                  <a:cubicBezTo>
                    <a:pt x="2497" y="262"/>
                    <a:pt x="2513" y="279"/>
                    <a:pt x="2541" y="279"/>
                  </a:cubicBezTo>
                  <a:cubicBezTo>
                    <a:pt x="2557" y="279"/>
                    <a:pt x="2573" y="274"/>
                    <a:pt x="2585" y="270"/>
                  </a:cubicBezTo>
                  <a:cubicBezTo>
                    <a:pt x="2591" y="268"/>
                    <a:pt x="2598" y="265"/>
                    <a:pt x="2598" y="265"/>
                  </a:cubicBezTo>
                  <a:cubicBezTo>
                    <a:pt x="2598" y="265"/>
                    <a:pt x="2605" y="274"/>
                    <a:pt x="2605" y="282"/>
                  </a:cubicBezTo>
                  <a:cubicBezTo>
                    <a:pt x="2606" y="292"/>
                    <a:pt x="2604" y="300"/>
                    <a:pt x="2594" y="307"/>
                  </a:cubicBezTo>
                  <a:cubicBezTo>
                    <a:pt x="2582" y="318"/>
                    <a:pt x="2559" y="324"/>
                    <a:pt x="2535" y="324"/>
                  </a:cubicBezTo>
                  <a:cubicBezTo>
                    <a:pt x="2506" y="324"/>
                    <a:pt x="2483" y="315"/>
                    <a:pt x="2466" y="297"/>
                  </a:cubicBezTo>
                  <a:cubicBezTo>
                    <a:pt x="2447" y="276"/>
                    <a:pt x="2437" y="244"/>
                    <a:pt x="2438" y="201"/>
                  </a:cubicBezTo>
                  <a:cubicBezTo>
                    <a:pt x="2439" y="130"/>
                    <a:pt x="2471" y="91"/>
                    <a:pt x="2526" y="91"/>
                  </a:cubicBezTo>
                  <a:cubicBezTo>
                    <a:pt x="2556" y="91"/>
                    <a:pt x="2580" y="98"/>
                    <a:pt x="2594" y="114"/>
                  </a:cubicBezTo>
                  <a:cubicBezTo>
                    <a:pt x="2607" y="127"/>
                    <a:pt x="2611" y="145"/>
                    <a:pt x="2611" y="166"/>
                  </a:cubicBezTo>
                  <a:cubicBezTo>
                    <a:pt x="2609" y="210"/>
                    <a:pt x="2576" y="234"/>
                    <a:pt x="2528" y="234"/>
                  </a:cubicBezTo>
                  <a:cubicBezTo>
                    <a:pt x="2516" y="234"/>
                    <a:pt x="2505" y="233"/>
                    <a:pt x="2492" y="232"/>
                  </a:cubicBezTo>
                  <a:moveTo>
                    <a:pt x="2525" y="198"/>
                  </a:moveTo>
                  <a:cubicBezTo>
                    <a:pt x="2549" y="198"/>
                    <a:pt x="2560" y="187"/>
                    <a:pt x="2560" y="165"/>
                  </a:cubicBezTo>
                  <a:cubicBezTo>
                    <a:pt x="2560" y="154"/>
                    <a:pt x="2558" y="144"/>
                    <a:pt x="2553" y="139"/>
                  </a:cubicBezTo>
                  <a:cubicBezTo>
                    <a:pt x="2548" y="133"/>
                    <a:pt x="2540" y="130"/>
                    <a:pt x="2531" y="130"/>
                  </a:cubicBezTo>
                  <a:cubicBezTo>
                    <a:pt x="2505" y="130"/>
                    <a:pt x="2493" y="153"/>
                    <a:pt x="2492" y="197"/>
                  </a:cubicBezTo>
                  <a:cubicBezTo>
                    <a:pt x="2506" y="198"/>
                    <a:pt x="2512" y="198"/>
                    <a:pt x="2525" y="198"/>
                  </a:cubicBezTo>
                  <a:moveTo>
                    <a:pt x="1516" y="91"/>
                  </a:moveTo>
                  <a:cubicBezTo>
                    <a:pt x="1481" y="91"/>
                    <a:pt x="1422" y="106"/>
                    <a:pt x="1422" y="208"/>
                  </a:cubicBezTo>
                  <a:cubicBezTo>
                    <a:pt x="1422" y="309"/>
                    <a:pt x="1481" y="324"/>
                    <a:pt x="1516" y="324"/>
                  </a:cubicBezTo>
                  <a:cubicBezTo>
                    <a:pt x="1552" y="324"/>
                    <a:pt x="1611" y="309"/>
                    <a:pt x="1611" y="208"/>
                  </a:cubicBezTo>
                  <a:cubicBezTo>
                    <a:pt x="1611" y="106"/>
                    <a:pt x="1552" y="91"/>
                    <a:pt x="1516" y="91"/>
                  </a:cubicBezTo>
                  <a:moveTo>
                    <a:pt x="1516" y="279"/>
                  </a:moveTo>
                  <a:cubicBezTo>
                    <a:pt x="1486" y="279"/>
                    <a:pt x="1478" y="239"/>
                    <a:pt x="1478" y="208"/>
                  </a:cubicBezTo>
                  <a:cubicBezTo>
                    <a:pt x="1478" y="177"/>
                    <a:pt x="1486" y="136"/>
                    <a:pt x="1516" y="136"/>
                  </a:cubicBezTo>
                  <a:cubicBezTo>
                    <a:pt x="1547" y="136"/>
                    <a:pt x="1554" y="177"/>
                    <a:pt x="1554" y="208"/>
                  </a:cubicBezTo>
                  <a:cubicBezTo>
                    <a:pt x="1554" y="239"/>
                    <a:pt x="1547" y="279"/>
                    <a:pt x="1516" y="279"/>
                  </a:cubicBezTo>
                  <a:moveTo>
                    <a:pt x="1735" y="91"/>
                  </a:moveTo>
                  <a:cubicBezTo>
                    <a:pt x="1699" y="91"/>
                    <a:pt x="1640" y="106"/>
                    <a:pt x="1640" y="208"/>
                  </a:cubicBezTo>
                  <a:cubicBezTo>
                    <a:pt x="1640" y="309"/>
                    <a:pt x="1699" y="324"/>
                    <a:pt x="1735" y="324"/>
                  </a:cubicBezTo>
                  <a:cubicBezTo>
                    <a:pt x="1770" y="324"/>
                    <a:pt x="1829" y="309"/>
                    <a:pt x="1829" y="208"/>
                  </a:cubicBezTo>
                  <a:cubicBezTo>
                    <a:pt x="1829" y="106"/>
                    <a:pt x="1770" y="91"/>
                    <a:pt x="1735" y="91"/>
                  </a:cubicBezTo>
                  <a:moveTo>
                    <a:pt x="1735" y="279"/>
                  </a:moveTo>
                  <a:cubicBezTo>
                    <a:pt x="1704" y="279"/>
                    <a:pt x="1697" y="239"/>
                    <a:pt x="1697" y="208"/>
                  </a:cubicBezTo>
                  <a:cubicBezTo>
                    <a:pt x="1697" y="177"/>
                    <a:pt x="1704" y="136"/>
                    <a:pt x="1735" y="136"/>
                  </a:cubicBezTo>
                  <a:cubicBezTo>
                    <a:pt x="1766" y="136"/>
                    <a:pt x="1772" y="177"/>
                    <a:pt x="1772" y="208"/>
                  </a:cubicBezTo>
                  <a:cubicBezTo>
                    <a:pt x="1772" y="239"/>
                    <a:pt x="1766" y="279"/>
                    <a:pt x="1735" y="279"/>
                  </a:cubicBezTo>
                  <a:moveTo>
                    <a:pt x="205" y="0"/>
                  </a:moveTo>
                  <a:cubicBezTo>
                    <a:pt x="187" y="0"/>
                    <a:pt x="175" y="4"/>
                    <a:pt x="175" y="4"/>
                  </a:cubicBezTo>
                  <a:cubicBezTo>
                    <a:pt x="137" y="160"/>
                    <a:pt x="137" y="160"/>
                    <a:pt x="137" y="160"/>
                  </a:cubicBezTo>
                  <a:cubicBezTo>
                    <a:pt x="133" y="176"/>
                    <a:pt x="123" y="222"/>
                    <a:pt x="119" y="247"/>
                  </a:cubicBezTo>
                  <a:cubicBezTo>
                    <a:pt x="115" y="221"/>
                    <a:pt x="106" y="177"/>
                    <a:pt x="101" y="160"/>
                  </a:cubicBezTo>
                  <a:cubicBezTo>
                    <a:pt x="69" y="25"/>
                    <a:pt x="69" y="25"/>
                    <a:pt x="69" y="25"/>
                  </a:cubicBezTo>
                  <a:cubicBezTo>
                    <a:pt x="65" y="9"/>
                    <a:pt x="55" y="1"/>
                    <a:pt x="39" y="1"/>
                  </a:cubicBezTo>
                  <a:cubicBezTo>
                    <a:pt x="18" y="1"/>
                    <a:pt x="4" y="10"/>
                    <a:pt x="0" y="13"/>
                  </a:cubicBezTo>
                  <a:cubicBezTo>
                    <a:pt x="4" y="19"/>
                    <a:pt x="8" y="25"/>
                    <a:pt x="13" y="42"/>
                  </a:cubicBezTo>
                  <a:cubicBezTo>
                    <a:pt x="79" y="292"/>
                    <a:pt x="79" y="292"/>
                    <a:pt x="79" y="292"/>
                  </a:cubicBezTo>
                  <a:cubicBezTo>
                    <a:pt x="84" y="312"/>
                    <a:pt x="92" y="321"/>
                    <a:pt x="106" y="321"/>
                  </a:cubicBezTo>
                  <a:cubicBezTo>
                    <a:pt x="120" y="321"/>
                    <a:pt x="134" y="321"/>
                    <a:pt x="151" y="312"/>
                  </a:cubicBezTo>
                  <a:cubicBezTo>
                    <a:pt x="226" y="29"/>
                    <a:pt x="226" y="29"/>
                    <a:pt x="226" y="29"/>
                  </a:cubicBezTo>
                  <a:cubicBezTo>
                    <a:pt x="232" y="9"/>
                    <a:pt x="220" y="0"/>
                    <a:pt x="205" y="0"/>
                  </a:cubicBezTo>
                  <a:moveTo>
                    <a:pt x="864" y="24"/>
                  </a:moveTo>
                  <a:cubicBezTo>
                    <a:pt x="864" y="7"/>
                    <a:pt x="854" y="1"/>
                    <a:pt x="840" y="1"/>
                  </a:cubicBezTo>
                  <a:cubicBezTo>
                    <a:pt x="828" y="1"/>
                    <a:pt x="813" y="3"/>
                    <a:pt x="807" y="6"/>
                  </a:cubicBezTo>
                  <a:cubicBezTo>
                    <a:pt x="811" y="13"/>
                    <a:pt x="812" y="25"/>
                    <a:pt x="812" y="35"/>
                  </a:cubicBezTo>
                  <a:cubicBezTo>
                    <a:pt x="812" y="112"/>
                    <a:pt x="812" y="112"/>
                    <a:pt x="812" y="112"/>
                  </a:cubicBezTo>
                  <a:cubicBezTo>
                    <a:pt x="799" y="99"/>
                    <a:pt x="785" y="91"/>
                    <a:pt x="766" y="91"/>
                  </a:cubicBezTo>
                  <a:cubicBezTo>
                    <a:pt x="744" y="91"/>
                    <a:pt x="726" y="98"/>
                    <a:pt x="713" y="113"/>
                  </a:cubicBezTo>
                  <a:cubicBezTo>
                    <a:pt x="689" y="138"/>
                    <a:pt x="684" y="180"/>
                    <a:pt x="684" y="202"/>
                  </a:cubicBezTo>
                  <a:cubicBezTo>
                    <a:pt x="684" y="246"/>
                    <a:pt x="693" y="282"/>
                    <a:pt x="713" y="303"/>
                  </a:cubicBezTo>
                  <a:cubicBezTo>
                    <a:pt x="725" y="316"/>
                    <a:pt x="742" y="323"/>
                    <a:pt x="760" y="323"/>
                  </a:cubicBezTo>
                  <a:cubicBezTo>
                    <a:pt x="784" y="323"/>
                    <a:pt x="802" y="312"/>
                    <a:pt x="813" y="295"/>
                  </a:cubicBezTo>
                  <a:cubicBezTo>
                    <a:pt x="813" y="295"/>
                    <a:pt x="817" y="305"/>
                    <a:pt x="821" y="310"/>
                  </a:cubicBezTo>
                  <a:cubicBezTo>
                    <a:pt x="828" y="318"/>
                    <a:pt x="836" y="322"/>
                    <a:pt x="850" y="322"/>
                  </a:cubicBezTo>
                  <a:cubicBezTo>
                    <a:pt x="874" y="322"/>
                    <a:pt x="887" y="314"/>
                    <a:pt x="888" y="295"/>
                  </a:cubicBezTo>
                  <a:cubicBezTo>
                    <a:pt x="888" y="291"/>
                    <a:pt x="886" y="285"/>
                    <a:pt x="885" y="283"/>
                  </a:cubicBezTo>
                  <a:cubicBezTo>
                    <a:pt x="878" y="283"/>
                    <a:pt x="878" y="283"/>
                    <a:pt x="878" y="283"/>
                  </a:cubicBezTo>
                  <a:cubicBezTo>
                    <a:pt x="873" y="283"/>
                    <a:pt x="870" y="282"/>
                    <a:pt x="868" y="281"/>
                  </a:cubicBezTo>
                  <a:cubicBezTo>
                    <a:pt x="865" y="278"/>
                    <a:pt x="864" y="273"/>
                    <a:pt x="864" y="264"/>
                  </a:cubicBezTo>
                  <a:lnTo>
                    <a:pt x="864" y="24"/>
                  </a:lnTo>
                  <a:close/>
                  <a:moveTo>
                    <a:pt x="774" y="277"/>
                  </a:moveTo>
                  <a:cubicBezTo>
                    <a:pt x="766" y="277"/>
                    <a:pt x="760" y="274"/>
                    <a:pt x="755" y="269"/>
                  </a:cubicBezTo>
                  <a:cubicBezTo>
                    <a:pt x="740" y="253"/>
                    <a:pt x="738" y="219"/>
                    <a:pt x="738" y="206"/>
                  </a:cubicBezTo>
                  <a:cubicBezTo>
                    <a:pt x="738" y="175"/>
                    <a:pt x="745" y="137"/>
                    <a:pt x="775" y="137"/>
                  </a:cubicBezTo>
                  <a:cubicBezTo>
                    <a:pt x="784" y="137"/>
                    <a:pt x="791" y="140"/>
                    <a:pt x="796" y="145"/>
                  </a:cubicBezTo>
                  <a:cubicBezTo>
                    <a:pt x="808" y="158"/>
                    <a:pt x="810" y="185"/>
                    <a:pt x="810" y="206"/>
                  </a:cubicBezTo>
                  <a:cubicBezTo>
                    <a:pt x="810" y="213"/>
                    <a:pt x="810" y="213"/>
                    <a:pt x="810" y="213"/>
                  </a:cubicBezTo>
                  <a:cubicBezTo>
                    <a:pt x="809" y="242"/>
                    <a:pt x="802" y="277"/>
                    <a:pt x="774" y="277"/>
                  </a:cubicBezTo>
                  <a:moveTo>
                    <a:pt x="659" y="283"/>
                  </a:moveTo>
                  <a:cubicBezTo>
                    <a:pt x="652" y="283"/>
                    <a:pt x="652" y="283"/>
                    <a:pt x="652" y="283"/>
                  </a:cubicBezTo>
                  <a:cubicBezTo>
                    <a:pt x="647" y="283"/>
                    <a:pt x="644" y="282"/>
                    <a:pt x="642" y="281"/>
                  </a:cubicBezTo>
                  <a:cubicBezTo>
                    <a:pt x="640" y="278"/>
                    <a:pt x="639" y="273"/>
                    <a:pt x="639" y="264"/>
                  </a:cubicBezTo>
                  <a:cubicBezTo>
                    <a:pt x="639" y="189"/>
                    <a:pt x="639" y="189"/>
                    <a:pt x="639" y="189"/>
                  </a:cubicBezTo>
                  <a:cubicBezTo>
                    <a:pt x="639" y="144"/>
                    <a:pt x="631" y="92"/>
                    <a:pt x="575" y="92"/>
                  </a:cubicBezTo>
                  <a:cubicBezTo>
                    <a:pt x="554" y="92"/>
                    <a:pt x="536" y="100"/>
                    <a:pt x="523" y="115"/>
                  </a:cubicBezTo>
                  <a:cubicBezTo>
                    <a:pt x="522" y="100"/>
                    <a:pt x="512" y="94"/>
                    <a:pt x="499" y="94"/>
                  </a:cubicBezTo>
                  <a:cubicBezTo>
                    <a:pt x="486" y="94"/>
                    <a:pt x="472" y="97"/>
                    <a:pt x="466" y="100"/>
                  </a:cubicBezTo>
                  <a:cubicBezTo>
                    <a:pt x="469" y="106"/>
                    <a:pt x="470" y="118"/>
                    <a:pt x="470" y="129"/>
                  </a:cubicBezTo>
                  <a:cubicBezTo>
                    <a:pt x="470" y="150"/>
                    <a:pt x="470" y="150"/>
                    <a:pt x="470" y="150"/>
                  </a:cubicBezTo>
                  <a:cubicBezTo>
                    <a:pt x="470" y="150"/>
                    <a:pt x="470" y="150"/>
                    <a:pt x="470" y="150"/>
                  </a:cubicBezTo>
                  <a:cubicBezTo>
                    <a:pt x="470" y="299"/>
                    <a:pt x="470" y="299"/>
                    <a:pt x="470" y="299"/>
                  </a:cubicBezTo>
                  <a:cubicBezTo>
                    <a:pt x="470" y="316"/>
                    <a:pt x="480" y="321"/>
                    <a:pt x="495" y="321"/>
                  </a:cubicBezTo>
                  <a:cubicBezTo>
                    <a:pt x="507" y="321"/>
                    <a:pt x="519" y="319"/>
                    <a:pt x="525" y="316"/>
                  </a:cubicBezTo>
                  <a:cubicBezTo>
                    <a:pt x="525" y="275"/>
                    <a:pt x="525" y="275"/>
                    <a:pt x="525" y="275"/>
                  </a:cubicBezTo>
                  <a:cubicBezTo>
                    <a:pt x="525" y="275"/>
                    <a:pt x="525" y="275"/>
                    <a:pt x="525" y="275"/>
                  </a:cubicBezTo>
                  <a:cubicBezTo>
                    <a:pt x="525" y="166"/>
                    <a:pt x="525" y="166"/>
                    <a:pt x="525" y="166"/>
                  </a:cubicBezTo>
                  <a:cubicBezTo>
                    <a:pt x="532" y="147"/>
                    <a:pt x="542" y="138"/>
                    <a:pt x="557" y="138"/>
                  </a:cubicBezTo>
                  <a:cubicBezTo>
                    <a:pt x="574" y="138"/>
                    <a:pt x="583" y="152"/>
                    <a:pt x="584" y="177"/>
                  </a:cubicBezTo>
                  <a:cubicBezTo>
                    <a:pt x="584" y="270"/>
                    <a:pt x="584" y="270"/>
                    <a:pt x="584" y="270"/>
                  </a:cubicBezTo>
                  <a:cubicBezTo>
                    <a:pt x="584" y="288"/>
                    <a:pt x="588" y="302"/>
                    <a:pt x="594" y="310"/>
                  </a:cubicBezTo>
                  <a:cubicBezTo>
                    <a:pt x="601" y="318"/>
                    <a:pt x="611" y="322"/>
                    <a:pt x="624" y="322"/>
                  </a:cubicBezTo>
                  <a:cubicBezTo>
                    <a:pt x="648" y="322"/>
                    <a:pt x="662" y="314"/>
                    <a:pt x="662" y="295"/>
                  </a:cubicBezTo>
                  <a:cubicBezTo>
                    <a:pt x="662" y="291"/>
                    <a:pt x="660" y="285"/>
                    <a:pt x="659" y="283"/>
                  </a:cubicBezTo>
                  <a:moveTo>
                    <a:pt x="1402" y="283"/>
                  </a:moveTo>
                  <a:cubicBezTo>
                    <a:pt x="1394" y="283"/>
                    <a:pt x="1394" y="283"/>
                    <a:pt x="1394" y="283"/>
                  </a:cubicBezTo>
                  <a:cubicBezTo>
                    <a:pt x="1389" y="283"/>
                    <a:pt x="1387" y="282"/>
                    <a:pt x="1385" y="281"/>
                  </a:cubicBezTo>
                  <a:cubicBezTo>
                    <a:pt x="1382" y="278"/>
                    <a:pt x="1381" y="273"/>
                    <a:pt x="1381" y="264"/>
                  </a:cubicBezTo>
                  <a:cubicBezTo>
                    <a:pt x="1381" y="183"/>
                    <a:pt x="1381" y="183"/>
                    <a:pt x="1381" y="183"/>
                  </a:cubicBezTo>
                  <a:cubicBezTo>
                    <a:pt x="1381" y="142"/>
                    <a:pt x="1374" y="94"/>
                    <a:pt x="1315" y="94"/>
                  </a:cubicBezTo>
                  <a:cubicBezTo>
                    <a:pt x="1296" y="94"/>
                    <a:pt x="1275" y="102"/>
                    <a:pt x="1261" y="118"/>
                  </a:cubicBezTo>
                  <a:cubicBezTo>
                    <a:pt x="1251" y="102"/>
                    <a:pt x="1236" y="94"/>
                    <a:pt x="1216" y="94"/>
                  </a:cubicBezTo>
                  <a:cubicBezTo>
                    <a:pt x="1198" y="94"/>
                    <a:pt x="1181" y="102"/>
                    <a:pt x="1166" y="118"/>
                  </a:cubicBezTo>
                  <a:cubicBezTo>
                    <a:pt x="1166" y="117"/>
                    <a:pt x="1166" y="117"/>
                    <a:pt x="1166" y="117"/>
                  </a:cubicBezTo>
                  <a:cubicBezTo>
                    <a:pt x="1166" y="100"/>
                    <a:pt x="1156" y="94"/>
                    <a:pt x="1142" y="94"/>
                  </a:cubicBezTo>
                  <a:cubicBezTo>
                    <a:pt x="1130" y="94"/>
                    <a:pt x="1115" y="97"/>
                    <a:pt x="1109" y="100"/>
                  </a:cubicBezTo>
                  <a:cubicBezTo>
                    <a:pt x="1112" y="106"/>
                    <a:pt x="1113" y="115"/>
                    <a:pt x="1113" y="125"/>
                  </a:cubicBezTo>
                  <a:cubicBezTo>
                    <a:pt x="1113" y="299"/>
                    <a:pt x="1113" y="299"/>
                    <a:pt x="1113" y="299"/>
                  </a:cubicBezTo>
                  <a:cubicBezTo>
                    <a:pt x="1113" y="316"/>
                    <a:pt x="1124" y="322"/>
                    <a:pt x="1138" y="322"/>
                  </a:cubicBezTo>
                  <a:cubicBezTo>
                    <a:pt x="1150" y="322"/>
                    <a:pt x="1162" y="319"/>
                    <a:pt x="1168" y="316"/>
                  </a:cubicBezTo>
                  <a:cubicBezTo>
                    <a:pt x="1168" y="168"/>
                    <a:pt x="1168" y="168"/>
                    <a:pt x="1168" y="168"/>
                  </a:cubicBezTo>
                  <a:cubicBezTo>
                    <a:pt x="1171" y="156"/>
                    <a:pt x="1179" y="140"/>
                    <a:pt x="1195" y="140"/>
                  </a:cubicBezTo>
                  <a:cubicBezTo>
                    <a:pt x="1202" y="140"/>
                    <a:pt x="1207" y="142"/>
                    <a:pt x="1211" y="147"/>
                  </a:cubicBezTo>
                  <a:cubicBezTo>
                    <a:pt x="1217" y="153"/>
                    <a:pt x="1220" y="164"/>
                    <a:pt x="1220" y="179"/>
                  </a:cubicBezTo>
                  <a:cubicBezTo>
                    <a:pt x="1220" y="299"/>
                    <a:pt x="1220" y="299"/>
                    <a:pt x="1220" y="299"/>
                  </a:cubicBezTo>
                  <a:cubicBezTo>
                    <a:pt x="1220" y="316"/>
                    <a:pt x="1230" y="322"/>
                    <a:pt x="1245" y="322"/>
                  </a:cubicBezTo>
                  <a:cubicBezTo>
                    <a:pt x="1257" y="322"/>
                    <a:pt x="1269" y="319"/>
                    <a:pt x="1275" y="316"/>
                  </a:cubicBezTo>
                  <a:cubicBezTo>
                    <a:pt x="1275" y="168"/>
                    <a:pt x="1275" y="168"/>
                    <a:pt x="1275" y="168"/>
                  </a:cubicBezTo>
                  <a:cubicBezTo>
                    <a:pt x="1278" y="156"/>
                    <a:pt x="1287" y="140"/>
                    <a:pt x="1303" y="140"/>
                  </a:cubicBezTo>
                  <a:cubicBezTo>
                    <a:pt x="1309" y="140"/>
                    <a:pt x="1314" y="142"/>
                    <a:pt x="1318" y="147"/>
                  </a:cubicBezTo>
                  <a:cubicBezTo>
                    <a:pt x="1324" y="153"/>
                    <a:pt x="1327" y="164"/>
                    <a:pt x="1327" y="179"/>
                  </a:cubicBezTo>
                  <a:cubicBezTo>
                    <a:pt x="1327" y="270"/>
                    <a:pt x="1327" y="270"/>
                    <a:pt x="1327" y="270"/>
                  </a:cubicBezTo>
                  <a:cubicBezTo>
                    <a:pt x="1327" y="288"/>
                    <a:pt x="1330" y="302"/>
                    <a:pt x="1337" y="310"/>
                  </a:cubicBezTo>
                  <a:cubicBezTo>
                    <a:pt x="1344" y="318"/>
                    <a:pt x="1353" y="322"/>
                    <a:pt x="1367" y="322"/>
                  </a:cubicBezTo>
                  <a:cubicBezTo>
                    <a:pt x="1391" y="322"/>
                    <a:pt x="1404" y="314"/>
                    <a:pt x="1404" y="295"/>
                  </a:cubicBezTo>
                  <a:cubicBezTo>
                    <a:pt x="1404" y="291"/>
                    <a:pt x="1403" y="285"/>
                    <a:pt x="1402" y="283"/>
                  </a:cubicBezTo>
                  <a:moveTo>
                    <a:pt x="1864" y="299"/>
                  </a:moveTo>
                  <a:cubicBezTo>
                    <a:pt x="1864" y="316"/>
                    <a:pt x="1875" y="322"/>
                    <a:pt x="1889" y="322"/>
                  </a:cubicBezTo>
                  <a:cubicBezTo>
                    <a:pt x="1901" y="322"/>
                    <a:pt x="1913" y="319"/>
                    <a:pt x="1919" y="316"/>
                  </a:cubicBezTo>
                  <a:cubicBezTo>
                    <a:pt x="1919" y="184"/>
                    <a:pt x="1919" y="184"/>
                    <a:pt x="1919" y="184"/>
                  </a:cubicBezTo>
                  <a:cubicBezTo>
                    <a:pt x="1921" y="156"/>
                    <a:pt x="1933" y="142"/>
                    <a:pt x="1955" y="142"/>
                  </a:cubicBezTo>
                  <a:cubicBezTo>
                    <a:pt x="1962" y="142"/>
                    <a:pt x="1967" y="144"/>
                    <a:pt x="1971" y="146"/>
                  </a:cubicBezTo>
                  <a:cubicBezTo>
                    <a:pt x="1973" y="147"/>
                    <a:pt x="1977" y="148"/>
                    <a:pt x="1979" y="150"/>
                  </a:cubicBezTo>
                  <a:cubicBezTo>
                    <a:pt x="1979" y="150"/>
                    <a:pt x="1989" y="140"/>
                    <a:pt x="1989" y="125"/>
                  </a:cubicBezTo>
                  <a:cubicBezTo>
                    <a:pt x="1988" y="108"/>
                    <a:pt x="1977" y="91"/>
                    <a:pt x="1952" y="91"/>
                  </a:cubicBezTo>
                  <a:cubicBezTo>
                    <a:pt x="1938" y="91"/>
                    <a:pt x="1924" y="98"/>
                    <a:pt x="1915" y="110"/>
                  </a:cubicBezTo>
                  <a:cubicBezTo>
                    <a:pt x="1912" y="99"/>
                    <a:pt x="1904" y="94"/>
                    <a:pt x="1892" y="94"/>
                  </a:cubicBezTo>
                  <a:cubicBezTo>
                    <a:pt x="1880" y="94"/>
                    <a:pt x="1866" y="97"/>
                    <a:pt x="1860" y="100"/>
                  </a:cubicBezTo>
                  <a:cubicBezTo>
                    <a:pt x="1863" y="106"/>
                    <a:pt x="1864" y="118"/>
                    <a:pt x="1864" y="129"/>
                  </a:cubicBezTo>
                  <a:lnTo>
                    <a:pt x="1864" y="299"/>
                  </a:lnTo>
                  <a:close/>
                  <a:moveTo>
                    <a:pt x="2113" y="287"/>
                  </a:moveTo>
                  <a:cubicBezTo>
                    <a:pt x="2111" y="275"/>
                    <a:pt x="2105" y="270"/>
                    <a:pt x="2105" y="270"/>
                  </a:cubicBezTo>
                  <a:cubicBezTo>
                    <a:pt x="2103" y="270"/>
                    <a:pt x="2099" y="272"/>
                    <a:pt x="2096" y="273"/>
                  </a:cubicBezTo>
                  <a:cubicBezTo>
                    <a:pt x="2092" y="275"/>
                    <a:pt x="2085" y="277"/>
                    <a:pt x="2079" y="277"/>
                  </a:cubicBezTo>
                  <a:cubicBezTo>
                    <a:pt x="2068" y="277"/>
                    <a:pt x="2063" y="270"/>
                    <a:pt x="2063" y="252"/>
                  </a:cubicBezTo>
                  <a:cubicBezTo>
                    <a:pt x="2063" y="142"/>
                    <a:pt x="2063" y="142"/>
                    <a:pt x="2063" y="142"/>
                  </a:cubicBezTo>
                  <a:cubicBezTo>
                    <a:pt x="2091" y="142"/>
                    <a:pt x="2091" y="142"/>
                    <a:pt x="2091" y="142"/>
                  </a:cubicBezTo>
                  <a:cubicBezTo>
                    <a:pt x="2109" y="142"/>
                    <a:pt x="2112" y="125"/>
                    <a:pt x="2112" y="114"/>
                  </a:cubicBezTo>
                  <a:cubicBezTo>
                    <a:pt x="2112" y="107"/>
                    <a:pt x="2111" y="101"/>
                    <a:pt x="2106" y="97"/>
                  </a:cubicBezTo>
                  <a:cubicBezTo>
                    <a:pt x="2063" y="97"/>
                    <a:pt x="2063" y="97"/>
                    <a:pt x="2063" y="97"/>
                  </a:cubicBezTo>
                  <a:cubicBezTo>
                    <a:pt x="2063" y="69"/>
                    <a:pt x="2063" y="69"/>
                    <a:pt x="2063" y="69"/>
                  </a:cubicBezTo>
                  <a:cubicBezTo>
                    <a:pt x="2063" y="52"/>
                    <a:pt x="2053" y="46"/>
                    <a:pt x="2038" y="46"/>
                  </a:cubicBezTo>
                  <a:cubicBezTo>
                    <a:pt x="2025" y="46"/>
                    <a:pt x="2010" y="48"/>
                    <a:pt x="2004" y="51"/>
                  </a:cubicBezTo>
                  <a:cubicBezTo>
                    <a:pt x="2007" y="57"/>
                    <a:pt x="2008" y="66"/>
                    <a:pt x="2008" y="76"/>
                  </a:cubicBezTo>
                  <a:cubicBezTo>
                    <a:pt x="2008" y="256"/>
                    <a:pt x="2008" y="256"/>
                    <a:pt x="2008" y="256"/>
                  </a:cubicBezTo>
                  <a:cubicBezTo>
                    <a:pt x="2008" y="299"/>
                    <a:pt x="2030" y="323"/>
                    <a:pt x="2064" y="323"/>
                  </a:cubicBezTo>
                  <a:cubicBezTo>
                    <a:pt x="2100" y="323"/>
                    <a:pt x="2115" y="304"/>
                    <a:pt x="2113" y="287"/>
                  </a:cubicBezTo>
                  <a:moveTo>
                    <a:pt x="2339" y="270"/>
                  </a:moveTo>
                  <a:cubicBezTo>
                    <a:pt x="2339" y="289"/>
                    <a:pt x="2343" y="302"/>
                    <a:pt x="2350" y="311"/>
                  </a:cubicBezTo>
                  <a:cubicBezTo>
                    <a:pt x="2356" y="319"/>
                    <a:pt x="2366" y="323"/>
                    <a:pt x="2379" y="323"/>
                  </a:cubicBezTo>
                  <a:cubicBezTo>
                    <a:pt x="2404" y="323"/>
                    <a:pt x="2417" y="314"/>
                    <a:pt x="2417" y="295"/>
                  </a:cubicBezTo>
                  <a:cubicBezTo>
                    <a:pt x="2417" y="291"/>
                    <a:pt x="2416" y="285"/>
                    <a:pt x="2415" y="283"/>
                  </a:cubicBezTo>
                  <a:cubicBezTo>
                    <a:pt x="2407" y="283"/>
                    <a:pt x="2407" y="283"/>
                    <a:pt x="2407" y="283"/>
                  </a:cubicBezTo>
                  <a:cubicBezTo>
                    <a:pt x="2402" y="283"/>
                    <a:pt x="2399" y="283"/>
                    <a:pt x="2397" y="281"/>
                  </a:cubicBezTo>
                  <a:cubicBezTo>
                    <a:pt x="2395" y="279"/>
                    <a:pt x="2394" y="274"/>
                    <a:pt x="2394" y="264"/>
                  </a:cubicBezTo>
                  <a:cubicBezTo>
                    <a:pt x="2394" y="24"/>
                    <a:pt x="2394" y="24"/>
                    <a:pt x="2394" y="24"/>
                  </a:cubicBezTo>
                  <a:cubicBezTo>
                    <a:pt x="2394" y="21"/>
                    <a:pt x="2394" y="18"/>
                    <a:pt x="2393" y="16"/>
                  </a:cubicBezTo>
                  <a:cubicBezTo>
                    <a:pt x="2390" y="5"/>
                    <a:pt x="2381" y="1"/>
                    <a:pt x="2369" y="1"/>
                  </a:cubicBezTo>
                  <a:cubicBezTo>
                    <a:pt x="2356" y="1"/>
                    <a:pt x="2341" y="4"/>
                    <a:pt x="2335" y="7"/>
                  </a:cubicBezTo>
                  <a:cubicBezTo>
                    <a:pt x="2338" y="13"/>
                    <a:pt x="2339" y="25"/>
                    <a:pt x="2339" y="36"/>
                  </a:cubicBezTo>
                  <a:lnTo>
                    <a:pt x="2339" y="270"/>
                  </a:lnTo>
                  <a:close/>
                  <a:moveTo>
                    <a:pt x="385" y="96"/>
                  </a:moveTo>
                  <a:cubicBezTo>
                    <a:pt x="373" y="96"/>
                    <a:pt x="364" y="101"/>
                    <a:pt x="362" y="115"/>
                  </a:cubicBezTo>
                  <a:cubicBezTo>
                    <a:pt x="353" y="102"/>
                    <a:pt x="336" y="91"/>
                    <a:pt x="315" y="91"/>
                  </a:cubicBezTo>
                  <a:cubicBezTo>
                    <a:pt x="293" y="91"/>
                    <a:pt x="275" y="98"/>
                    <a:pt x="261" y="113"/>
                  </a:cubicBezTo>
                  <a:cubicBezTo>
                    <a:pt x="237" y="138"/>
                    <a:pt x="232" y="180"/>
                    <a:pt x="232" y="202"/>
                  </a:cubicBezTo>
                  <a:cubicBezTo>
                    <a:pt x="232" y="245"/>
                    <a:pt x="241" y="281"/>
                    <a:pt x="262" y="303"/>
                  </a:cubicBezTo>
                  <a:cubicBezTo>
                    <a:pt x="274" y="316"/>
                    <a:pt x="290" y="323"/>
                    <a:pt x="309" y="323"/>
                  </a:cubicBezTo>
                  <a:cubicBezTo>
                    <a:pt x="332" y="323"/>
                    <a:pt x="351" y="313"/>
                    <a:pt x="362" y="295"/>
                  </a:cubicBezTo>
                  <a:cubicBezTo>
                    <a:pt x="362" y="295"/>
                    <a:pt x="365" y="305"/>
                    <a:pt x="370" y="310"/>
                  </a:cubicBezTo>
                  <a:cubicBezTo>
                    <a:pt x="376" y="318"/>
                    <a:pt x="385" y="322"/>
                    <a:pt x="398" y="322"/>
                  </a:cubicBezTo>
                  <a:cubicBezTo>
                    <a:pt x="422" y="322"/>
                    <a:pt x="436" y="314"/>
                    <a:pt x="436" y="295"/>
                  </a:cubicBezTo>
                  <a:cubicBezTo>
                    <a:pt x="436" y="291"/>
                    <a:pt x="435" y="285"/>
                    <a:pt x="433" y="283"/>
                  </a:cubicBezTo>
                  <a:cubicBezTo>
                    <a:pt x="426" y="283"/>
                    <a:pt x="426" y="283"/>
                    <a:pt x="426" y="283"/>
                  </a:cubicBezTo>
                  <a:cubicBezTo>
                    <a:pt x="421" y="283"/>
                    <a:pt x="418" y="282"/>
                    <a:pt x="416" y="281"/>
                  </a:cubicBezTo>
                  <a:cubicBezTo>
                    <a:pt x="414" y="278"/>
                    <a:pt x="413" y="273"/>
                    <a:pt x="413" y="264"/>
                  </a:cubicBezTo>
                  <a:cubicBezTo>
                    <a:pt x="413" y="96"/>
                    <a:pt x="413" y="96"/>
                    <a:pt x="413" y="96"/>
                  </a:cubicBezTo>
                  <a:lnTo>
                    <a:pt x="385" y="96"/>
                  </a:lnTo>
                  <a:close/>
                  <a:moveTo>
                    <a:pt x="323" y="277"/>
                  </a:moveTo>
                  <a:cubicBezTo>
                    <a:pt x="315" y="277"/>
                    <a:pt x="309" y="274"/>
                    <a:pt x="303" y="269"/>
                  </a:cubicBezTo>
                  <a:cubicBezTo>
                    <a:pt x="288" y="253"/>
                    <a:pt x="287" y="219"/>
                    <a:pt x="287" y="206"/>
                  </a:cubicBezTo>
                  <a:cubicBezTo>
                    <a:pt x="287" y="175"/>
                    <a:pt x="293" y="137"/>
                    <a:pt x="323" y="137"/>
                  </a:cubicBezTo>
                  <a:cubicBezTo>
                    <a:pt x="332" y="137"/>
                    <a:pt x="339" y="139"/>
                    <a:pt x="345" y="145"/>
                  </a:cubicBezTo>
                  <a:cubicBezTo>
                    <a:pt x="357" y="158"/>
                    <a:pt x="358" y="185"/>
                    <a:pt x="358" y="206"/>
                  </a:cubicBezTo>
                  <a:cubicBezTo>
                    <a:pt x="358" y="213"/>
                    <a:pt x="358" y="213"/>
                    <a:pt x="358" y="213"/>
                  </a:cubicBezTo>
                  <a:cubicBezTo>
                    <a:pt x="357" y="241"/>
                    <a:pt x="350" y="277"/>
                    <a:pt x="323" y="277"/>
                  </a:cubicBezTo>
                </a:path>
              </a:pathLst>
            </a:custGeom>
            <a:solidFill>
              <a:srgbClr val="4C00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30" name="Freeform 6"/>
            <p:cNvSpPr>
              <a:spLocks noSelect="1"/>
            </p:cNvSpPr>
            <p:nvPr/>
          </p:nvSpPr>
          <p:spPr bwMode="gray">
            <a:xfrm>
              <a:off x="636" y="4062"/>
              <a:ext cx="109" cy="97"/>
            </a:xfrm>
            <a:custGeom>
              <a:avLst/>
              <a:gdLst>
                <a:gd name="T0" fmla="*/ 89 w 291"/>
                <a:gd name="T1" fmla="*/ 200 h 259"/>
                <a:gd name="T2" fmla="*/ 290 w 291"/>
                <a:gd name="T3" fmla="*/ 241 h 259"/>
                <a:gd name="T4" fmla="*/ 201 w 291"/>
                <a:gd name="T5" fmla="*/ 59 h 259"/>
                <a:gd name="T6" fmla="*/ 1 w 291"/>
                <a:gd name="T7" fmla="*/ 18 h 259"/>
                <a:gd name="T8" fmla="*/ 89 w 291"/>
                <a:gd name="T9" fmla="*/ 200 h 259"/>
              </a:gdLst>
              <a:ahLst/>
              <a:cxnLst>
                <a:cxn ang="0">
                  <a:pos x="T0" y="T1"/>
                </a:cxn>
                <a:cxn ang="0">
                  <a:pos x="T2" y="T3"/>
                </a:cxn>
                <a:cxn ang="0">
                  <a:pos x="T4" y="T5"/>
                </a:cxn>
                <a:cxn ang="0">
                  <a:pos x="T6" y="T7"/>
                </a:cxn>
                <a:cxn ang="0">
                  <a:pos x="T8" y="T9"/>
                </a:cxn>
              </a:cxnLst>
              <a:rect l="0" t="0" r="r" b="b"/>
              <a:pathLst>
                <a:path w="291" h="259">
                  <a:moveTo>
                    <a:pt x="89" y="200"/>
                  </a:moveTo>
                  <a:cubicBezTo>
                    <a:pt x="148" y="246"/>
                    <a:pt x="222" y="259"/>
                    <a:pt x="290" y="241"/>
                  </a:cubicBezTo>
                  <a:cubicBezTo>
                    <a:pt x="291" y="172"/>
                    <a:pt x="260" y="104"/>
                    <a:pt x="201" y="59"/>
                  </a:cubicBezTo>
                  <a:cubicBezTo>
                    <a:pt x="142" y="13"/>
                    <a:pt x="68" y="0"/>
                    <a:pt x="1" y="18"/>
                  </a:cubicBezTo>
                  <a:cubicBezTo>
                    <a:pt x="0" y="87"/>
                    <a:pt x="30" y="155"/>
                    <a:pt x="89" y="200"/>
                  </a:cubicBezTo>
                </a:path>
              </a:pathLst>
            </a:custGeom>
            <a:solidFill>
              <a:srgbClr val="A619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31" name="Freeform 7"/>
            <p:cNvSpPr>
              <a:spLocks noSelect="1"/>
            </p:cNvSpPr>
            <p:nvPr/>
          </p:nvSpPr>
          <p:spPr bwMode="gray">
            <a:xfrm>
              <a:off x="713" y="3938"/>
              <a:ext cx="49" cy="82"/>
            </a:xfrm>
            <a:custGeom>
              <a:avLst/>
              <a:gdLst>
                <a:gd name="T0" fmla="*/ 10 w 130"/>
                <a:gd name="T1" fmla="*/ 97 h 218"/>
                <a:gd name="T2" fmla="*/ 40 w 130"/>
                <a:gd name="T3" fmla="*/ 218 h 218"/>
                <a:gd name="T4" fmla="*/ 120 w 130"/>
                <a:gd name="T5" fmla="*/ 121 h 218"/>
                <a:gd name="T6" fmla="*/ 89 w 130"/>
                <a:gd name="T7" fmla="*/ 0 h 218"/>
                <a:gd name="T8" fmla="*/ 10 w 130"/>
                <a:gd name="T9" fmla="*/ 97 h 218"/>
              </a:gdLst>
              <a:ahLst/>
              <a:cxnLst>
                <a:cxn ang="0">
                  <a:pos x="T0" y="T1"/>
                </a:cxn>
                <a:cxn ang="0">
                  <a:pos x="T2" y="T3"/>
                </a:cxn>
                <a:cxn ang="0">
                  <a:pos x="T4" y="T5"/>
                </a:cxn>
                <a:cxn ang="0">
                  <a:pos x="T6" y="T7"/>
                </a:cxn>
                <a:cxn ang="0">
                  <a:pos x="T8" y="T9"/>
                </a:cxn>
              </a:cxnLst>
              <a:rect l="0" t="0" r="r" b="b"/>
              <a:pathLst>
                <a:path w="130" h="218">
                  <a:moveTo>
                    <a:pt x="10" y="97"/>
                  </a:moveTo>
                  <a:cubicBezTo>
                    <a:pt x="0" y="142"/>
                    <a:pt x="12" y="186"/>
                    <a:pt x="40" y="218"/>
                  </a:cubicBezTo>
                  <a:cubicBezTo>
                    <a:pt x="79" y="201"/>
                    <a:pt x="110" y="166"/>
                    <a:pt x="120" y="121"/>
                  </a:cubicBezTo>
                  <a:cubicBezTo>
                    <a:pt x="130" y="77"/>
                    <a:pt x="117" y="32"/>
                    <a:pt x="89" y="0"/>
                  </a:cubicBezTo>
                  <a:cubicBezTo>
                    <a:pt x="50" y="18"/>
                    <a:pt x="20" y="52"/>
                    <a:pt x="10" y="97"/>
                  </a:cubicBezTo>
                </a:path>
              </a:pathLst>
            </a:custGeom>
            <a:solidFill>
              <a:srgbClr val="00AE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32" name="Freeform 8"/>
            <p:cNvSpPr>
              <a:spLocks noSelect="1"/>
            </p:cNvSpPr>
            <p:nvPr/>
          </p:nvSpPr>
          <p:spPr bwMode="gray">
            <a:xfrm>
              <a:off x="737" y="3996"/>
              <a:ext cx="72" cy="110"/>
            </a:xfrm>
            <a:custGeom>
              <a:avLst/>
              <a:gdLst>
                <a:gd name="T0" fmla="*/ 22 w 190"/>
                <a:gd name="T1" fmla="*/ 120 h 292"/>
                <a:gd name="T2" fmla="*/ 42 w 190"/>
                <a:gd name="T3" fmla="*/ 292 h 292"/>
                <a:gd name="T4" fmla="*/ 168 w 190"/>
                <a:gd name="T5" fmla="*/ 172 h 292"/>
                <a:gd name="T6" fmla="*/ 148 w 190"/>
                <a:gd name="T7" fmla="*/ 0 h 292"/>
                <a:gd name="T8" fmla="*/ 22 w 190"/>
                <a:gd name="T9" fmla="*/ 120 h 292"/>
              </a:gdLst>
              <a:ahLst/>
              <a:cxnLst>
                <a:cxn ang="0">
                  <a:pos x="T0" y="T1"/>
                </a:cxn>
                <a:cxn ang="0">
                  <a:pos x="T2" y="T3"/>
                </a:cxn>
                <a:cxn ang="0">
                  <a:pos x="T4" y="T5"/>
                </a:cxn>
                <a:cxn ang="0">
                  <a:pos x="T6" y="T7"/>
                </a:cxn>
                <a:cxn ang="0">
                  <a:pos x="T8" y="T9"/>
                </a:cxn>
              </a:cxnLst>
              <a:rect l="0" t="0" r="r" b="b"/>
              <a:pathLst>
                <a:path w="190" h="292">
                  <a:moveTo>
                    <a:pt x="22" y="120"/>
                  </a:moveTo>
                  <a:cubicBezTo>
                    <a:pt x="0" y="180"/>
                    <a:pt x="10" y="243"/>
                    <a:pt x="42" y="292"/>
                  </a:cubicBezTo>
                  <a:cubicBezTo>
                    <a:pt x="99" y="275"/>
                    <a:pt x="147" y="232"/>
                    <a:pt x="168" y="172"/>
                  </a:cubicBezTo>
                  <a:cubicBezTo>
                    <a:pt x="190" y="113"/>
                    <a:pt x="180" y="50"/>
                    <a:pt x="148" y="0"/>
                  </a:cubicBezTo>
                  <a:cubicBezTo>
                    <a:pt x="91" y="18"/>
                    <a:pt x="44" y="61"/>
                    <a:pt x="22" y="120"/>
                  </a:cubicBezTo>
                </a:path>
              </a:pathLst>
            </a:custGeom>
            <a:solidFill>
              <a:srgbClr val="F09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sp>
          <p:nvSpPr>
            <p:cNvPr id="33" name="Freeform 9"/>
            <p:cNvSpPr>
              <a:spLocks noSelect="1"/>
            </p:cNvSpPr>
            <p:nvPr/>
          </p:nvSpPr>
          <p:spPr bwMode="gray">
            <a:xfrm>
              <a:off x="634" y="3982"/>
              <a:ext cx="74" cy="71"/>
            </a:xfrm>
            <a:custGeom>
              <a:avLst/>
              <a:gdLst>
                <a:gd name="T0" fmla="*/ 54 w 196"/>
                <a:gd name="T1" fmla="*/ 139 h 188"/>
                <a:gd name="T2" fmla="*/ 191 w 196"/>
                <a:gd name="T3" fmla="*/ 180 h 188"/>
                <a:gd name="T4" fmla="*/ 142 w 196"/>
                <a:gd name="T5" fmla="*/ 48 h 188"/>
                <a:gd name="T6" fmla="*/ 5 w 196"/>
                <a:gd name="T7" fmla="*/ 8 h 188"/>
                <a:gd name="T8" fmla="*/ 54 w 196"/>
                <a:gd name="T9" fmla="*/ 139 h 188"/>
              </a:gdLst>
              <a:ahLst/>
              <a:cxnLst>
                <a:cxn ang="0">
                  <a:pos x="T0" y="T1"/>
                </a:cxn>
                <a:cxn ang="0">
                  <a:pos x="T2" y="T3"/>
                </a:cxn>
                <a:cxn ang="0">
                  <a:pos x="T4" y="T5"/>
                </a:cxn>
                <a:cxn ang="0">
                  <a:pos x="T6" y="T7"/>
                </a:cxn>
                <a:cxn ang="0">
                  <a:pos x="T8" y="T9"/>
                </a:cxn>
              </a:cxnLst>
              <a:rect l="0" t="0" r="r" b="b"/>
              <a:pathLst>
                <a:path w="196" h="188">
                  <a:moveTo>
                    <a:pt x="54" y="139"/>
                  </a:moveTo>
                  <a:cubicBezTo>
                    <a:pt x="93" y="174"/>
                    <a:pt x="143" y="188"/>
                    <a:pt x="191" y="180"/>
                  </a:cubicBezTo>
                  <a:cubicBezTo>
                    <a:pt x="196" y="132"/>
                    <a:pt x="180" y="83"/>
                    <a:pt x="142" y="48"/>
                  </a:cubicBezTo>
                  <a:cubicBezTo>
                    <a:pt x="103" y="13"/>
                    <a:pt x="53" y="0"/>
                    <a:pt x="5" y="8"/>
                  </a:cubicBezTo>
                  <a:cubicBezTo>
                    <a:pt x="0" y="55"/>
                    <a:pt x="16" y="104"/>
                    <a:pt x="54" y="139"/>
                  </a:cubicBezTo>
                </a:path>
              </a:pathLst>
            </a:custGeom>
            <a:solidFill>
              <a:srgbClr val="FAB2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85"/>
            </a:p>
          </p:txBody>
        </p:sp>
      </p:grpSp>
      <p:grpSp>
        <p:nvGrpSpPr>
          <p:cNvPr id="14" name="business card grid" hidden="1">
            <a:extLst>
              <a:ext uri="{FF2B5EF4-FFF2-40B4-BE49-F238E27FC236}">
                <a16:creationId xmlns:a16="http://schemas.microsoft.com/office/drawing/2014/main" id="{41EBBAE0-F348-43F9-90AB-5EDA1832ACB7}"/>
              </a:ext>
            </a:extLst>
          </p:cNvPr>
          <p:cNvGrpSpPr/>
          <p:nvPr userDrawn="1"/>
        </p:nvGrpSpPr>
        <p:grpSpPr>
          <a:xfrm>
            <a:off x="685800" y="452618"/>
            <a:ext cx="6400800" cy="9148542"/>
            <a:chOff x="685800" y="452618"/>
            <a:chExt cx="6400800" cy="9148542"/>
          </a:xfrm>
        </p:grpSpPr>
        <p:sp>
          <p:nvSpPr>
            <p:cNvPr id="15" name="Rectangle 14">
              <a:extLst>
                <a:ext uri="{FF2B5EF4-FFF2-40B4-BE49-F238E27FC236}">
                  <a16:creationId xmlns:a16="http://schemas.microsoft.com/office/drawing/2014/main" id="{31C260FF-6AD3-4B4D-B75A-EA22664CF202}"/>
                </a:ext>
              </a:extLst>
            </p:cNvPr>
            <p:cNvSpPr/>
            <p:nvPr userDrawn="1"/>
          </p:nvSpPr>
          <p:spPr>
            <a:xfrm>
              <a:off x="685800" y="452618"/>
              <a:ext cx="3200400" cy="1828800"/>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6" name="Rectangle 15">
              <a:extLst>
                <a:ext uri="{FF2B5EF4-FFF2-40B4-BE49-F238E27FC236}">
                  <a16:creationId xmlns:a16="http://schemas.microsoft.com/office/drawing/2014/main" id="{C4077EE1-4A02-42BB-8B99-93396A0CBBD6}"/>
                </a:ext>
              </a:extLst>
            </p:cNvPr>
            <p:cNvSpPr/>
            <p:nvPr userDrawn="1"/>
          </p:nvSpPr>
          <p:spPr>
            <a:xfrm>
              <a:off x="3886200" y="452618"/>
              <a:ext cx="3200400" cy="1828800"/>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7" name="Rectangle 16">
              <a:extLst>
                <a:ext uri="{FF2B5EF4-FFF2-40B4-BE49-F238E27FC236}">
                  <a16:creationId xmlns:a16="http://schemas.microsoft.com/office/drawing/2014/main" id="{A4DA4802-621F-4A6D-82C9-DF7810F014A9}"/>
                </a:ext>
              </a:extLst>
            </p:cNvPr>
            <p:cNvSpPr/>
            <p:nvPr userDrawn="1"/>
          </p:nvSpPr>
          <p:spPr>
            <a:xfrm>
              <a:off x="685800" y="2287809"/>
              <a:ext cx="3200400" cy="1828800"/>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8" name="Rectangle 17">
              <a:extLst>
                <a:ext uri="{FF2B5EF4-FFF2-40B4-BE49-F238E27FC236}">
                  <a16:creationId xmlns:a16="http://schemas.microsoft.com/office/drawing/2014/main" id="{5A2BA41C-C3A0-4DB3-A035-661E33FC6331}"/>
                </a:ext>
              </a:extLst>
            </p:cNvPr>
            <p:cNvSpPr/>
            <p:nvPr userDrawn="1"/>
          </p:nvSpPr>
          <p:spPr>
            <a:xfrm>
              <a:off x="3886200" y="2287809"/>
              <a:ext cx="3200400" cy="1828800"/>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9" name="Rectangle 18">
              <a:extLst>
                <a:ext uri="{FF2B5EF4-FFF2-40B4-BE49-F238E27FC236}">
                  <a16:creationId xmlns:a16="http://schemas.microsoft.com/office/drawing/2014/main" id="{54187588-7617-4BE5-A369-6FCE3740DA8C}"/>
                </a:ext>
              </a:extLst>
            </p:cNvPr>
            <p:cNvSpPr/>
            <p:nvPr userDrawn="1"/>
          </p:nvSpPr>
          <p:spPr>
            <a:xfrm>
              <a:off x="685800" y="4116609"/>
              <a:ext cx="3200400" cy="1828800"/>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0" name="Rectangle 19">
              <a:extLst>
                <a:ext uri="{FF2B5EF4-FFF2-40B4-BE49-F238E27FC236}">
                  <a16:creationId xmlns:a16="http://schemas.microsoft.com/office/drawing/2014/main" id="{99F17230-C1D0-4FBD-8FE6-64A1B8D0A656}"/>
                </a:ext>
              </a:extLst>
            </p:cNvPr>
            <p:cNvSpPr/>
            <p:nvPr userDrawn="1"/>
          </p:nvSpPr>
          <p:spPr>
            <a:xfrm>
              <a:off x="3886200" y="4116609"/>
              <a:ext cx="3200400" cy="1828800"/>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1" name="Rectangle 20">
              <a:extLst>
                <a:ext uri="{FF2B5EF4-FFF2-40B4-BE49-F238E27FC236}">
                  <a16:creationId xmlns:a16="http://schemas.microsoft.com/office/drawing/2014/main" id="{5A83BB3C-73DC-47FB-B7AC-1999E5CC0060}"/>
                </a:ext>
              </a:extLst>
            </p:cNvPr>
            <p:cNvSpPr/>
            <p:nvPr userDrawn="1"/>
          </p:nvSpPr>
          <p:spPr>
            <a:xfrm>
              <a:off x="685800" y="5945409"/>
              <a:ext cx="3200400" cy="1828800"/>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4" name="Rectangle 23">
              <a:extLst>
                <a:ext uri="{FF2B5EF4-FFF2-40B4-BE49-F238E27FC236}">
                  <a16:creationId xmlns:a16="http://schemas.microsoft.com/office/drawing/2014/main" id="{341E986B-F783-4860-8DA0-5E953BECBE18}"/>
                </a:ext>
              </a:extLst>
            </p:cNvPr>
            <p:cNvSpPr/>
            <p:nvPr userDrawn="1"/>
          </p:nvSpPr>
          <p:spPr>
            <a:xfrm>
              <a:off x="3886200" y="5945409"/>
              <a:ext cx="3200400" cy="1828800"/>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5" name="Rectangle 24">
              <a:extLst>
                <a:ext uri="{FF2B5EF4-FFF2-40B4-BE49-F238E27FC236}">
                  <a16:creationId xmlns:a16="http://schemas.microsoft.com/office/drawing/2014/main" id="{B83E3D59-9AE8-463E-8DE7-C6B7C10985EC}"/>
                </a:ext>
              </a:extLst>
            </p:cNvPr>
            <p:cNvSpPr/>
            <p:nvPr userDrawn="1"/>
          </p:nvSpPr>
          <p:spPr>
            <a:xfrm>
              <a:off x="685800" y="7772360"/>
              <a:ext cx="3200400" cy="1828800"/>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6" name="Rectangle 25">
              <a:extLst>
                <a:ext uri="{FF2B5EF4-FFF2-40B4-BE49-F238E27FC236}">
                  <a16:creationId xmlns:a16="http://schemas.microsoft.com/office/drawing/2014/main" id="{51CD0BD3-9B7E-4651-940B-EA6429C22E35}"/>
                </a:ext>
              </a:extLst>
            </p:cNvPr>
            <p:cNvSpPr/>
            <p:nvPr userDrawn="1"/>
          </p:nvSpPr>
          <p:spPr>
            <a:xfrm>
              <a:off x="3886200" y="7772360"/>
              <a:ext cx="3200400" cy="1828800"/>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grpSp>
      <p:sp>
        <p:nvSpPr>
          <p:cNvPr id="27" name="Copyright">
            <a:extLst>
              <a:ext uri="{FF2B5EF4-FFF2-40B4-BE49-F238E27FC236}">
                <a16:creationId xmlns:a16="http://schemas.microsoft.com/office/drawing/2014/main" id="{AFA80885-EDD1-4FA5-8B88-D61052A55689}"/>
              </a:ext>
            </a:extLst>
          </p:cNvPr>
          <p:cNvSpPr txBox="1"/>
          <p:nvPr userDrawn="1"/>
        </p:nvSpPr>
        <p:spPr bwMode="black">
          <a:xfrm>
            <a:off x="851338" y="9860628"/>
            <a:ext cx="2269679" cy="92333"/>
          </a:xfrm>
          <a:prstGeom prst="rect">
            <a:avLst/>
          </a:prstGeom>
          <a:noFill/>
        </p:spPr>
        <p:txBody>
          <a:bodyPr wrap="square" lIns="0" tIns="0" rIns="0" bIns="0" rtlCol="0">
            <a:spAutoFit/>
          </a:bodyPr>
          <a:lstStyle/>
          <a:p>
            <a:pPr marL="84121" marR="0" indent="-84121" algn="l" defTabSz="1088558"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bg2"/>
                </a:solidFill>
                <a:latin typeface="Arial" panose="020B0604020202020204" pitchFamily="34" charset="0"/>
                <a:cs typeface="Arial" panose="020B0604020202020204" pitchFamily="34" charset="0"/>
              </a:rPr>
              <a:t>2019 SAP SE or an SAP affiliate company. All rights reserved.  </a:t>
            </a:r>
            <a:r>
              <a:rPr kumimoji="0" lang="en-US" sz="600" b="0" i="0" u="none" kern="0" baseline="0">
                <a:solidFill>
                  <a:schemeClr val="bg2"/>
                </a:solidFill>
                <a:latin typeface="Arial" panose="020B0604020202020204" pitchFamily="34" charset="0"/>
                <a:ea typeface="Arial Unicode MS"/>
                <a:cs typeface="Arial" panose="020B0604020202020204" pitchFamily="34" charset="0"/>
                <a:sym typeface="Arial"/>
              </a:rPr>
              <a:t>ǀ</a:t>
            </a:r>
          </a:p>
        </p:txBody>
      </p:sp>
    </p:spTree>
    <p:extLst>
      <p:ext uri="{BB962C8B-B14F-4D97-AF65-F5344CB8AC3E}">
        <p14:creationId xmlns:p14="http://schemas.microsoft.com/office/powerpoint/2010/main" val="1910646672"/>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05" r:id="rId24"/>
  </p:sldLayoutIdLst>
  <p:txStyles>
    <p:titleStyle>
      <a:lvl1pPr algn="l" defTabSz="582930" rtl="0" eaLnBrk="1" latinLnBrk="0" hangingPunct="1">
        <a:lnSpc>
          <a:spcPct val="113000"/>
        </a:lnSpc>
        <a:spcBef>
          <a:spcPts val="0"/>
        </a:spcBef>
        <a:buNone/>
        <a:defRPr sz="1700" b="0" kern="0" cap="all" spc="166" baseline="0">
          <a:solidFill>
            <a:schemeClr val="tx1"/>
          </a:solidFill>
          <a:latin typeface="+mj-lt"/>
          <a:ea typeface="+mj-ea"/>
          <a:cs typeface="+mj-cs"/>
        </a:defRPr>
      </a:lvl1pPr>
    </p:titleStyle>
    <p:bodyStyle>
      <a:lvl1pPr marL="198900" indent="-198900" algn="l" defTabSz="582930" rtl="0" eaLnBrk="1" latinLnBrk="0" hangingPunct="1">
        <a:lnSpc>
          <a:spcPct val="100000"/>
        </a:lnSpc>
        <a:spcBef>
          <a:spcPts val="510"/>
        </a:spcBef>
        <a:buFont typeface="Corbel" panose="020B0503020204020204" pitchFamily="34" charset="0"/>
        <a:buChar char="–"/>
        <a:defRPr sz="1360" b="0" kern="1200">
          <a:solidFill>
            <a:schemeClr val="tx1"/>
          </a:solidFill>
          <a:latin typeface="+mn-lt"/>
          <a:ea typeface="+mn-ea"/>
          <a:cs typeface="+mn-cs"/>
        </a:defRPr>
      </a:lvl1pPr>
      <a:lvl2pPr marL="321300" indent="-122400" algn="l" defTabSz="582930" rtl="0" eaLnBrk="1" latinLnBrk="0" hangingPunct="1">
        <a:lnSpc>
          <a:spcPct val="100000"/>
        </a:lnSpc>
        <a:spcBef>
          <a:spcPts val="340"/>
        </a:spcBef>
        <a:buFont typeface="Corbel" panose="020B0503020204020204" pitchFamily="34" charset="0"/>
        <a:buChar char="–"/>
        <a:defRPr sz="1020" b="0" kern="1200">
          <a:solidFill>
            <a:schemeClr val="tx1"/>
          </a:solidFill>
          <a:latin typeface="+mn-lt"/>
          <a:ea typeface="+mn-ea"/>
          <a:cs typeface="+mn-cs"/>
        </a:defRPr>
      </a:lvl2pPr>
      <a:lvl3pPr marL="0" indent="0" algn="l" defTabSz="582930" rtl="0" eaLnBrk="1" latinLnBrk="0" hangingPunct="1">
        <a:lnSpc>
          <a:spcPct val="100000"/>
        </a:lnSpc>
        <a:spcBef>
          <a:spcPts val="0"/>
        </a:spcBef>
        <a:spcAft>
          <a:spcPts val="2040"/>
        </a:spcAft>
        <a:buFont typeface="Corbel" panose="020B0503020204020204" pitchFamily="34" charset="0"/>
        <a:buNone/>
        <a:defRPr sz="1700" b="0" kern="1200" baseline="0">
          <a:solidFill>
            <a:schemeClr val="tx1"/>
          </a:solidFill>
          <a:latin typeface="+mn-lt"/>
          <a:ea typeface="+mn-ea"/>
          <a:cs typeface="+mn-cs"/>
        </a:defRPr>
      </a:lvl3pPr>
      <a:lvl4pPr marL="0" indent="0" algn="l" defTabSz="582930" rtl="0" eaLnBrk="1" latinLnBrk="0" hangingPunct="1">
        <a:lnSpc>
          <a:spcPct val="100000"/>
        </a:lnSpc>
        <a:spcBef>
          <a:spcPts val="0"/>
        </a:spcBef>
        <a:spcAft>
          <a:spcPts val="0"/>
        </a:spcAft>
        <a:buFont typeface="Arial" pitchFamily="34" charset="0"/>
        <a:buNone/>
        <a:defRPr sz="1360" b="0" kern="1200" baseline="0">
          <a:solidFill>
            <a:schemeClr val="tx1"/>
          </a:solidFill>
          <a:latin typeface="+mn-lt"/>
          <a:ea typeface="+mn-ea"/>
          <a:cs typeface="+mn-cs"/>
        </a:defRPr>
      </a:lvl4pPr>
      <a:lvl5pPr marL="198900" indent="0" algn="l" defTabSz="582930" rtl="0" eaLnBrk="1" latinLnBrk="0" hangingPunct="1">
        <a:lnSpc>
          <a:spcPct val="100000"/>
        </a:lnSpc>
        <a:spcBef>
          <a:spcPts val="0"/>
        </a:spcBef>
        <a:spcAft>
          <a:spcPts val="0"/>
        </a:spcAft>
        <a:buFont typeface="Arial" pitchFamily="34" charset="0"/>
        <a:buNone/>
        <a:defRPr sz="1360" kern="1200" baseline="0">
          <a:solidFill>
            <a:schemeClr val="tx1"/>
          </a:solidFill>
          <a:latin typeface="+mn-lt"/>
          <a:ea typeface="+mn-ea"/>
          <a:cs typeface="+mn-cs"/>
        </a:defRPr>
      </a:lvl5pPr>
      <a:lvl6pPr marL="443700" indent="0" algn="l" defTabSz="582930" rtl="0" eaLnBrk="1" latinLnBrk="0" hangingPunct="1">
        <a:lnSpc>
          <a:spcPct val="100000"/>
        </a:lnSpc>
        <a:spcBef>
          <a:spcPts val="0"/>
        </a:spcBef>
        <a:buFont typeface="Arial" pitchFamily="34" charset="0"/>
        <a:buNone/>
        <a:defRPr sz="1020" kern="1200" baseline="0">
          <a:solidFill>
            <a:schemeClr val="tx1"/>
          </a:solidFill>
          <a:latin typeface="+mn-lt"/>
          <a:ea typeface="+mn-ea"/>
          <a:cs typeface="+mn-cs"/>
        </a:defRPr>
      </a:lvl6pPr>
      <a:lvl7pPr marL="443700" indent="0" algn="l" defTabSz="582930" rtl="0" eaLnBrk="1" latinLnBrk="0" hangingPunct="1">
        <a:lnSpc>
          <a:spcPct val="100000"/>
        </a:lnSpc>
        <a:spcBef>
          <a:spcPts val="0"/>
        </a:spcBef>
        <a:buFont typeface="Arial" pitchFamily="34" charset="0"/>
        <a:buNone/>
        <a:defRPr sz="1020" kern="1200" baseline="0">
          <a:solidFill>
            <a:schemeClr val="tx1"/>
          </a:solidFill>
          <a:latin typeface="+mn-lt"/>
          <a:ea typeface="+mn-ea"/>
          <a:cs typeface="+mn-cs"/>
        </a:defRPr>
      </a:lvl7pPr>
      <a:lvl8pPr marL="443700" indent="0" algn="l" defTabSz="582930" rtl="0" eaLnBrk="1" latinLnBrk="0" hangingPunct="1">
        <a:lnSpc>
          <a:spcPct val="100000"/>
        </a:lnSpc>
        <a:spcBef>
          <a:spcPts val="0"/>
        </a:spcBef>
        <a:buFont typeface="Arial" pitchFamily="34" charset="0"/>
        <a:buNone/>
        <a:defRPr sz="1020" kern="1200" baseline="0">
          <a:solidFill>
            <a:schemeClr val="tx1"/>
          </a:solidFill>
          <a:latin typeface="+mn-lt"/>
          <a:ea typeface="+mn-ea"/>
          <a:cs typeface="+mn-cs"/>
        </a:defRPr>
      </a:lvl8pPr>
      <a:lvl9pPr marL="443700" indent="0" algn="l" defTabSz="582930" rtl="0" eaLnBrk="1" latinLnBrk="0" hangingPunct="1">
        <a:lnSpc>
          <a:spcPct val="100000"/>
        </a:lnSpc>
        <a:spcBef>
          <a:spcPts val="0"/>
        </a:spcBef>
        <a:buFont typeface="Arial" pitchFamily="34" charset="0"/>
        <a:buNone/>
        <a:defRPr sz="1020" kern="1200" baseline="0">
          <a:solidFill>
            <a:schemeClr val="tx1"/>
          </a:solidFill>
          <a:latin typeface="+mn-lt"/>
          <a:ea typeface="+mn-ea"/>
          <a:cs typeface="+mn-cs"/>
        </a:defRPr>
      </a:lvl9pPr>
    </p:bodyStyle>
    <p:otherStyle>
      <a:defPPr>
        <a:defRPr lang="en-GB"/>
      </a:defPPr>
      <a:lvl1pPr marL="0" algn="l" defTabSz="582930" rtl="0" eaLnBrk="1" latinLnBrk="0" hangingPunct="1">
        <a:defRPr sz="1148" kern="1200">
          <a:solidFill>
            <a:schemeClr val="tx1"/>
          </a:solidFill>
          <a:latin typeface="+mn-lt"/>
          <a:ea typeface="+mn-ea"/>
          <a:cs typeface="+mn-cs"/>
        </a:defRPr>
      </a:lvl1pPr>
      <a:lvl2pPr marL="291465" algn="l" defTabSz="582930" rtl="0" eaLnBrk="1" latinLnBrk="0" hangingPunct="1">
        <a:defRPr sz="1148" kern="1200">
          <a:solidFill>
            <a:schemeClr val="tx1"/>
          </a:solidFill>
          <a:latin typeface="+mn-lt"/>
          <a:ea typeface="+mn-ea"/>
          <a:cs typeface="+mn-cs"/>
        </a:defRPr>
      </a:lvl2pPr>
      <a:lvl3pPr marL="582930" algn="l" defTabSz="582930" rtl="0" eaLnBrk="1" latinLnBrk="0" hangingPunct="1">
        <a:defRPr sz="1148" kern="1200">
          <a:solidFill>
            <a:schemeClr val="tx1"/>
          </a:solidFill>
          <a:latin typeface="+mn-lt"/>
          <a:ea typeface="+mn-ea"/>
          <a:cs typeface="+mn-cs"/>
        </a:defRPr>
      </a:lvl3pPr>
      <a:lvl4pPr marL="874395" algn="l" defTabSz="582930" rtl="0" eaLnBrk="1" latinLnBrk="0" hangingPunct="1">
        <a:defRPr sz="1148" kern="1200">
          <a:solidFill>
            <a:schemeClr val="tx1"/>
          </a:solidFill>
          <a:latin typeface="+mn-lt"/>
          <a:ea typeface="+mn-ea"/>
          <a:cs typeface="+mn-cs"/>
        </a:defRPr>
      </a:lvl4pPr>
      <a:lvl5pPr marL="1165860" algn="l" defTabSz="582930" rtl="0" eaLnBrk="1" latinLnBrk="0" hangingPunct="1">
        <a:defRPr sz="1148" kern="1200">
          <a:solidFill>
            <a:schemeClr val="tx1"/>
          </a:solidFill>
          <a:latin typeface="+mn-lt"/>
          <a:ea typeface="+mn-ea"/>
          <a:cs typeface="+mn-cs"/>
        </a:defRPr>
      </a:lvl5pPr>
      <a:lvl6pPr marL="1457325" algn="l" defTabSz="582930" rtl="0" eaLnBrk="1" latinLnBrk="0" hangingPunct="1">
        <a:defRPr sz="1148" kern="1200">
          <a:solidFill>
            <a:schemeClr val="tx1"/>
          </a:solidFill>
          <a:latin typeface="+mn-lt"/>
          <a:ea typeface="+mn-ea"/>
          <a:cs typeface="+mn-cs"/>
        </a:defRPr>
      </a:lvl6pPr>
      <a:lvl7pPr marL="1748790" algn="l" defTabSz="582930" rtl="0" eaLnBrk="1" latinLnBrk="0" hangingPunct="1">
        <a:defRPr sz="1148" kern="1200">
          <a:solidFill>
            <a:schemeClr val="tx1"/>
          </a:solidFill>
          <a:latin typeface="+mn-lt"/>
          <a:ea typeface="+mn-ea"/>
          <a:cs typeface="+mn-cs"/>
        </a:defRPr>
      </a:lvl7pPr>
      <a:lvl8pPr marL="2040255" algn="l" defTabSz="582930" rtl="0" eaLnBrk="1" latinLnBrk="0" hangingPunct="1">
        <a:defRPr sz="1148" kern="1200">
          <a:solidFill>
            <a:schemeClr val="tx1"/>
          </a:solidFill>
          <a:latin typeface="+mn-lt"/>
          <a:ea typeface="+mn-ea"/>
          <a:cs typeface="+mn-cs"/>
        </a:defRPr>
      </a:lvl8pPr>
      <a:lvl9pPr marL="2331720" algn="l" defTabSz="582930" rtl="0" eaLnBrk="1" latinLnBrk="0" hangingPunct="1">
        <a:defRPr sz="1148"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48">
          <p15:clr>
            <a:srgbClr val="F26B43"/>
          </p15:clr>
        </p15:guide>
        <p15:guide id="2" orient="horz" pos="527">
          <p15:clr>
            <a:srgbClr val="F26B43"/>
          </p15:clr>
        </p15:guide>
        <p15:guide id="3" orient="horz" pos="3430">
          <p15:clr>
            <a:srgbClr val="F26B43"/>
          </p15:clr>
        </p15:guide>
        <p15:guide id="4" pos="5210">
          <p15:clr>
            <a:srgbClr val="F26B43"/>
          </p15:clr>
        </p15:guide>
        <p15:guide id="5" pos="2999">
          <p15:clr>
            <a:srgbClr val="F26B43"/>
          </p15:clr>
        </p15:guide>
        <p15:guide id="6" orient="horz" pos="145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uex.ariba.com/auc/node/79096?a_fenb=is" TargetMode="External"/><Relationship Id="rId13" Type="http://schemas.openxmlformats.org/officeDocument/2006/relationships/package" Target="../embeddings/Microsoft_Word_Document.docx"/><Relationship Id="rId18" Type="http://schemas.openxmlformats.org/officeDocument/2006/relationships/image" Target="../media/image5.emf"/><Relationship Id="rId3" Type="http://schemas.openxmlformats.org/officeDocument/2006/relationships/image" Target="../media/image7.png"/><Relationship Id="rId7" Type="http://schemas.openxmlformats.org/officeDocument/2006/relationships/hyperlink" Target="https://sapariba.invisionapp.com/share/SHBZI8F92#/screens" TargetMode="External"/><Relationship Id="rId12" Type="http://schemas.openxmlformats.org/officeDocument/2006/relationships/image" Target="../media/image8.png"/><Relationship Id="rId17" Type="http://schemas.openxmlformats.org/officeDocument/2006/relationships/package" Target="../embeddings/Microsoft_PowerPoint_Presentation.pptx"/><Relationship Id="rId2" Type="http://schemas.openxmlformats.org/officeDocument/2006/relationships/slideLayout" Target="../slideLayouts/slideLayout23.xml"/><Relationship Id="rId16" Type="http://schemas.openxmlformats.org/officeDocument/2006/relationships/image" Target="../media/image4.emf"/><Relationship Id="rId20" Type="http://schemas.openxmlformats.org/officeDocument/2006/relationships/image" Target="../media/image6.emf"/><Relationship Id="rId1" Type="http://schemas.openxmlformats.org/officeDocument/2006/relationships/vmlDrawing" Target="../drawings/vmlDrawing2.vml"/><Relationship Id="rId6" Type="http://schemas.openxmlformats.org/officeDocument/2006/relationships/hyperlink" Target="https://www.ariba.com/resources/library/library-pages/ariba-network-light-account" TargetMode="External"/><Relationship Id="rId11" Type="http://schemas.openxmlformats.org/officeDocument/2006/relationships/hyperlink" Target="https://support.ariba.com/help" TargetMode="External"/><Relationship Id="rId5" Type="http://schemas.openxmlformats.org/officeDocument/2006/relationships/image" Target="../media/image2.wmf"/><Relationship Id="rId15" Type="http://schemas.openxmlformats.org/officeDocument/2006/relationships/package" Target="../embeddings/Microsoft_Word_Document1.docx"/><Relationship Id="rId10" Type="http://schemas.openxmlformats.org/officeDocument/2006/relationships/hyperlink" Target="mailto:ariba.enablement@vandemoortele.com" TargetMode="External"/><Relationship Id="rId19" Type="http://schemas.openxmlformats.org/officeDocument/2006/relationships/oleObject" Target="../embeddings/oleObject3.bin"/><Relationship Id="rId4" Type="http://schemas.openxmlformats.org/officeDocument/2006/relationships/oleObject" Target="../embeddings/oleObject2.bin"/><Relationship Id="rId9" Type="http://schemas.openxmlformats.org/officeDocument/2006/relationships/hyperlink" Target="https://gateway.on24.com/wcc/gateway/elitesaparibacustsupport/1391535" TargetMode="External"/><Relationship Id="rId1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162A5CC-5CD3-40AC-80C7-D59C0808D1F9}"/>
              </a:ext>
            </a:extLst>
          </p:cNvPr>
          <p:cNvSpPr/>
          <p:nvPr/>
        </p:nvSpPr>
        <p:spPr>
          <a:xfrm>
            <a:off x="573024" y="9412224"/>
            <a:ext cx="2621280" cy="5449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DB78E694-460F-4C7B-90C1-394670C94871}"/>
              </a:ext>
            </a:extLst>
          </p:cNvPr>
          <p:cNvSpPr/>
          <p:nvPr/>
        </p:nvSpPr>
        <p:spPr>
          <a:xfrm>
            <a:off x="3869794" y="894484"/>
            <a:ext cx="3794760" cy="1436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1" indent="-228600" algn="just">
              <a:spcAft>
                <a:spcPts val="0"/>
              </a:spcAft>
              <a:buFont typeface="+mj-lt"/>
              <a:buAutoNum type="alphaLcPeriod"/>
            </a:pPr>
            <a:r>
              <a:rPr lang="en-US" sz="1100" dirty="0">
                <a:solidFill>
                  <a:schemeClr val="tx1"/>
                </a:solidFill>
                <a:ea typeface="Tahoma" panose="020B0604030504040204" pitchFamily="34" charset="0"/>
                <a:cs typeface="Times New Roman" panose="02020603050405020304" pitchFamily="18" charset="0"/>
              </a:rPr>
              <a:t>Please follow the instruction set from the attached file.</a:t>
            </a:r>
          </a:p>
        </p:txBody>
      </p:sp>
      <p:sp>
        <p:nvSpPr>
          <p:cNvPr id="22" name="Rectangle 21">
            <a:extLst>
              <a:ext uri="{FF2B5EF4-FFF2-40B4-BE49-F238E27FC236}">
                <a16:creationId xmlns:a16="http://schemas.microsoft.com/office/drawing/2014/main" id="{FA869C26-B292-48CB-9E22-146EAE58AA99}"/>
              </a:ext>
            </a:extLst>
          </p:cNvPr>
          <p:cNvSpPr/>
          <p:nvPr/>
        </p:nvSpPr>
        <p:spPr>
          <a:xfrm>
            <a:off x="73452" y="119558"/>
            <a:ext cx="7597348" cy="527291"/>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a:t>STANDARD ACCOUNT: SOLUTION QUICK GUIDE</a:t>
            </a:r>
          </a:p>
        </p:txBody>
      </p:sp>
      <p:sp>
        <p:nvSpPr>
          <p:cNvPr id="53" name="Rectangle 52">
            <a:extLst>
              <a:ext uri="{FF2B5EF4-FFF2-40B4-BE49-F238E27FC236}">
                <a16:creationId xmlns:a16="http://schemas.microsoft.com/office/drawing/2014/main" id="{BC7FEB91-81FB-49F7-8126-367EB271D526}"/>
              </a:ext>
            </a:extLst>
          </p:cNvPr>
          <p:cNvSpPr/>
          <p:nvPr/>
        </p:nvSpPr>
        <p:spPr>
          <a:xfrm>
            <a:off x="87528" y="7869887"/>
            <a:ext cx="7594600" cy="252064"/>
          </a:xfrm>
          <a:prstGeom prst="rect">
            <a:avLst/>
          </a:prstGeom>
          <a:solidFill>
            <a:schemeClr val="accent5"/>
          </a:solidFill>
        </p:spPr>
        <p:txBody>
          <a:bodyPr wrap="square">
            <a:spAutoFit/>
          </a:bodyPr>
          <a:lstStyle/>
          <a:p>
            <a:pPr lvl="0" algn="ctr">
              <a:lnSpc>
                <a:spcPct val="90000"/>
              </a:lnSpc>
              <a:buSzPts val="1100"/>
            </a:pPr>
            <a:endParaRPr lang="en-US" sz="1200">
              <a:solidFill>
                <a:prstClr val="black"/>
              </a:solidFill>
              <a:latin typeface="Tahoma" panose="020B0604030504040204" pitchFamily="34" charset="0"/>
              <a:ea typeface="Tahoma" panose="020B0604030504040204" pitchFamily="34" charset="0"/>
              <a:cs typeface="Times New Roman" panose="02020603050405020304" pitchFamily="18" charset="0"/>
            </a:endParaRPr>
          </a:p>
        </p:txBody>
      </p:sp>
      <p:sp>
        <p:nvSpPr>
          <p:cNvPr id="54" name="Rectangle 53">
            <a:extLst>
              <a:ext uri="{FF2B5EF4-FFF2-40B4-BE49-F238E27FC236}">
                <a16:creationId xmlns:a16="http://schemas.microsoft.com/office/drawing/2014/main" id="{84669150-303F-4700-81F0-C84B2420298C}"/>
              </a:ext>
            </a:extLst>
          </p:cNvPr>
          <p:cNvSpPr/>
          <p:nvPr/>
        </p:nvSpPr>
        <p:spPr>
          <a:xfrm>
            <a:off x="3947197" y="7869887"/>
            <a:ext cx="3657600" cy="256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 marR="0" lvl="0" algn="ctr">
              <a:lnSpc>
                <a:spcPct val="90000"/>
              </a:lnSpc>
              <a:spcAft>
                <a:spcPts val="600"/>
              </a:spcAft>
              <a:buSzPts val="1100"/>
            </a:pPr>
            <a:r>
              <a:rPr lang="en-US" sz="1100" b="1">
                <a:solidFill>
                  <a:schemeClr val="tx1"/>
                </a:solidFill>
                <a:ea typeface="Tahoma" panose="020B0604030504040204" pitchFamily="34" charset="0"/>
                <a:cs typeface="Times New Roman" panose="02020603050405020304" pitchFamily="18" charset="0"/>
              </a:rPr>
              <a:t>8. Further support &amp; FAQ:</a:t>
            </a:r>
          </a:p>
        </p:txBody>
      </p:sp>
      <p:sp>
        <p:nvSpPr>
          <p:cNvPr id="55" name="Rectangle 54">
            <a:extLst>
              <a:ext uri="{FF2B5EF4-FFF2-40B4-BE49-F238E27FC236}">
                <a16:creationId xmlns:a16="http://schemas.microsoft.com/office/drawing/2014/main" id="{55E85E01-F977-4B8B-BEA7-DC69395614FF}"/>
              </a:ext>
            </a:extLst>
          </p:cNvPr>
          <p:cNvSpPr/>
          <p:nvPr/>
        </p:nvSpPr>
        <p:spPr>
          <a:xfrm>
            <a:off x="87528" y="7869887"/>
            <a:ext cx="3657600" cy="256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 marR="0" lvl="0" algn="ctr">
              <a:lnSpc>
                <a:spcPct val="90000"/>
              </a:lnSpc>
              <a:spcAft>
                <a:spcPts val="600"/>
              </a:spcAft>
              <a:buSzPts val="1100"/>
            </a:pPr>
            <a:r>
              <a:rPr lang="en-US" sz="1100" b="1">
                <a:solidFill>
                  <a:schemeClr val="tx1"/>
                </a:solidFill>
                <a:ea typeface="Tahoma" panose="020B0604030504040204" pitchFamily="34" charset="0"/>
                <a:cs typeface="Tahoma" panose="020B0604030504040204" pitchFamily="34" charset="0"/>
              </a:rPr>
              <a:t>7. How to upgrade to an Enterprise Account?</a:t>
            </a:r>
            <a:endParaRPr lang="en-US" sz="1100">
              <a:solidFill>
                <a:schemeClr val="tx1"/>
              </a:solidFill>
              <a:ea typeface="Tahoma" panose="020B0604030504040204" pitchFamily="34" charset="0"/>
              <a:cs typeface="Times New Roman" panose="02020603050405020304" pitchFamily="18" charset="0"/>
            </a:endParaRPr>
          </a:p>
        </p:txBody>
      </p:sp>
      <p:sp>
        <p:nvSpPr>
          <p:cNvPr id="48" name="Rectangle 47">
            <a:extLst>
              <a:ext uri="{FF2B5EF4-FFF2-40B4-BE49-F238E27FC236}">
                <a16:creationId xmlns:a16="http://schemas.microsoft.com/office/drawing/2014/main" id="{86067083-C540-4A63-B5FD-96B6E5A2D9A7}"/>
              </a:ext>
            </a:extLst>
          </p:cNvPr>
          <p:cNvSpPr/>
          <p:nvPr/>
        </p:nvSpPr>
        <p:spPr>
          <a:xfrm>
            <a:off x="76200" y="5485960"/>
            <a:ext cx="7594600" cy="252064"/>
          </a:xfrm>
          <a:prstGeom prst="rect">
            <a:avLst/>
          </a:prstGeom>
          <a:solidFill>
            <a:schemeClr val="accent5"/>
          </a:solidFill>
        </p:spPr>
        <p:txBody>
          <a:bodyPr wrap="square">
            <a:spAutoFit/>
          </a:bodyPr>
          <a:lstStyle/>
          <a:p>
            <a:pPr lvl="0" algn="ctr">
              <a:lnSpc>
                <a:spcPct val="90000"/>
              </a:lnSpc>
              <a:buSzPts val="1100"/>
            </a:pPr>
            <a:endParaRPr lang="en-US" sz="1200">
              <a:solidFill>
                <a:prstClr val="black"/>
              </a:solidFill>
              <a:latin typeface="Tahoma" panose="020B0604030504040204" pitchFamily="34" charset="0"/>
              <a:ea typeface="Tahoma" panose="020B0604030504040204" pitchFamily="34" charset="0"/>
              <a:cs typeface="Times New Roman" panose="02020603050405020304" pitchFamily="18" charset="0"/>
            </a:endParaRPr>
          </a:p>
        </p:txBody>
      </p:sp>
      <p:sp>
        <p:nvSpPr>
          <p:cNvPr id="49" name="Rectangle 48">
            <a:extLst>
              <a:ext uri="{FF2B5EF4-FFF2-40B4-BE49-F238E27FC236}">
                <a16:creationId xmlns:a16="http://schemas.microsoft.com/office/drawing/2014/main" id="{EB33C68A-A10F-4027-883A-50BB6D22C3CE}"/>
              </a:ext>
            </a:extLst>
          </p:cNvPr>
          <p:cNvSpPr/>
          <p:nvPr/>
        </p:nvSpPr>
        <p:spPr>
          <a:xfrm>
            <a:off x="62125" y="5488460"/>
            <a:ext cx="3657600" cy="256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 marR="0" lvl="0" algn="ctr">
              <a:lnSpc>
                <a:spcPct val="90000"/>
              </a:lnSpc>
              <a:spcAft>
                <a:spcPts val="600"/>
              </a:spcAft>
              <a:buSzPts val="1100"/>
            </a:pPr>
            <a:r>
              <a:rPr lang="en-US" sz="1100" b="1">
                <a:solidFill>
                  <a:schemeClr val="tx1"/>
                </a:solidFill>
                <a:ea typeface="Tahoma" panose="020B0604030504040204" pitchFamily="34" charset="0"/>
                <a:cs typeface="Times New Roman" panose="02020603050405020304" pitchFamily="18" charset="0"/>
              </a:rPr>
              <a:t>5. What are the feature &amp; benefits?</a:t>
            </a:r>
          </a:p>
        </p:txBody>
      </p:sp>
      <p:sp>
        <p:nvSpPr>
          <p:cNvPr id="50" name="Rectangle 49">
            <a:extLst>
              <a:ext uri="{FF2B5EF4-FFF2-40B4-BE49-F238E27FC236}">
                <a16:creationId xmlns:a16="http://schemas.microsoft.com/office/drawing/2014/main" id="{EDC75EEE-BF82-4A86-A025-C5019AD6A131}"/>
              </a:ext>
            </a:extLst>
          </p:cNvPr>
          <p:cNvSpPr/>
          <p:nvPr/>
        </p:nvSpPr>
        <p:spPr>
          <a:xfrm>
            <a:off x="3992321" y="5488460"/>
            <a:ext cx="3657600" cy="256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 marR="0" lvl="0" algn="ctr">
              <a:lnSpc>
                <a:spcPct val="90000"/>
              </a:lnSpc>
              <a:spcAft>
                <a:spcPts val="600"/>
              </a:spcAft>
              <a:buSzPts val="1100"/>
            </a:pPr>
            <a:r>
              <a:rPr lang="en-US" sz="1100" b="1">
                <a:solidFill>
                  <a:schemeClr val="tx1"/>
                </a:solidFill>
                <a:ea typeface="Tahoma" panose="020B0604030504040204" pitchFamily="34" charset="0"/>
                <a:cs typeface="Tahoma" panose="020B0604030504040204" pitchFamily="34" charset="0"/>
              </a:rPr>
              <a:t>6. For more information:</a:t>
            </a:r>
            <a:endParaRPr lang="en-US" sz="1100">
              <a:solidFill>
                <a:schemeClr val="tx1"/>
              </a:solidFill>
              <a:ea typeface="Tahoma" panose="020B0604030504040204" pitchFamily="34" charset="0"/>
              <a:cs typeface="Times New Roman" panose="02020603050405020304" pitchFamily="18" charset="0"/>
            </a:endParaRPr>
          </a:p>
        </p:txBody>
      </p:sp>
      <p:sp>
        <p:nvSpPr>
          <p:cNvPr id="42" name="Rectangle 41">
            <a:extLst>
              <a:ext uri="{FF2B5EF4-FFF2-40B4-BE49-F238E27FC236}">
                <a16:creationId xmlns:a16="http://schemas.microsoft.com/office/drawing/2014/main" id="{FE6333D3-7848-4778-A218-BB60D32270BE}"/>
              </a:ext>
            </a:extLst>
          </p:cNvPr>
          <p:cNvSpPr/>
          <p:nvPr/>
        </p:nvSpPr>
        <p:spPr>
          <a:xfrm>
            <a:off x="87528" y="4233981"/>
            <a:ext cx="7594600" cy="397032"/>
          </a:xfrm>
          <a:prstGeom prst="rect">
            <a:avLst/>
          </a:prstGeom>
          <a:solidFill>
            <a:schemeClr val="accent5"/>
          </a:solidFill>
        </p:spPr>
        <p:txBody>
          <a:bodyPr wrap="square" anchor="ctr">
            <a:spAutoFit/>
          </a:bodyPr>
          <a:lstStyle/>
          <a:p>
            <a:pPr lvl="0" algn="ctr">
              <a:lnSpc>
                <a:spcPct val="90000"/>
              </a:lnSpc>
              <a:buSzPts val="1100"/>
            </a:pPr>
            <a:r>
              <a:rPr lang="en-US" sz="1100" b="1">
                <a:solidFill>
                  <a:prstClr val="black"/>
                </a:solidFill>
                <a:ea typeface="Tahoma" panose="020B0604030504040204" pitchFamily="34" charset="0"/>
                <a:cs typeface="Times New Roman" panose="02020603050405020304" pitchFamily="18" charset="0"/>
              </a:rPr>
              <a:t>4. What should I do if my invoice has been rejected?</a:t>
            </a:r>
          </a:p>
          <a:p>
            <a:pPr lvl="0" algn="ctr">
              <a:lnSpc>
                <a:spcPct val="90000"/>
              </a:lnSpc>
              <a:buSzPts val="1100"/>
            </a:pPr>
            <a:r>
              <a:rPr lang="en-US" sz="1100">
                <a:solidFill>
                  <a:prstClr val="black"/>
                </a:solidFill>
                <a:ea typeface="Tahoma" panose="020B0604030504040204" pitchFamily="34" charset="0"/>
                <a:cs typeface="Times New Roman" panose="02020603050405020304" pitchFamily="18" charset="0"/>
              </a:rPr>
              <a:t>Reasons for invoices rejected can be either:</a:t>
            </a:r>
          </a:p>
        </p:txBody>
      </p:sp>
      <p:sp>
        <p:nvSpPr>
          <p:cNvPr id="38" name="Rectangle 37">
            <a:extLst>
              <a:ext uri="{FF2B5EF4-FFF2-40B4-BE49-F238E27FC236}">
                <a16:creationId xmlns:a16="http://schemas.microsoft.com/office/drawing/2014/main" id="{8B7E6972-4B0D-4883-88DE-C709D73FBCE6}"/>
              </a:ext>
            </a:extLst>
          </p:cNvPr>
          <p:cNvSpPr/>
          <p:nvPr/>
        </p:nvSpPr>
        <p:spPr>
          <a:xfrm>
            <a:off x="87528" y="2276215"/>
            <a:ext cx="7594600" cy="256032"/>
          </a:xfrm>
          <a:prstGeom prst="rect">
            <a:avLst/>
          </a:prstGeom>
          <a:solidFill>
            <a:schemeClr val="accent5"/>
          </a:solidFill>
        </p:spPr>
        <p:txBody>
          <a:bodyPr wrap="square" anchor="ctr">
            <a:spAutoFit/>
          </a:bodyPr>
          <a:lstStyle/>
          <a:p>
            <a:pPr lvl="0" algn="ctr">
              <a:lnSpc>
                <a:spcPct val="90000"/>
              </a:lnSpc>
              <a:buSzPts val="1100"/>
            </a:pPr>
            <a:r>
              <a:rPr lang="en-US" sz="1100" b="1">
                <a:solidFill>
                  <a:prstClr val="black"/>
                </a:solidFill>
                <a:ea typeface="Tahoma" panose="020B0604030504040204" pitchFamily="34" charset="0"/>
                <a:cs typeface="Times New Roman" panose="02020603050405020304" pitchFamily="18" charset="0"/>
              </a:rPr>
              <a:t>3. How can you submit your invoices? Here are the invoice submission steps:</a:t>
            </a:r>
          </a:p>
        </p:txBody>
      </p:sp>
      <p:sp>
        <p:nvSpPr>
          <p:cNvPr id="31" name="Rectangle 30">
            <a:extLst>
              <a:ext uri="{FF2B5EF4-FFF2-40B4-BE49-F238E27FC236}">
                <a16:creationId xmlns:a16="http://schemas.microsoft.com/office/drawing/2014/main" id="{458DBCF7-D6F9-46C2-90D3-28CC6FB94BB0}"/>
              </a:ext>
            </a:extLst>
          </p:cNvPr>
          <p:cNvSpPr/>
          <p:nvPr/>
        </p:nvSpPr>
        <p:spPr>
          <a:xfrm>
            <a:off x="84780" y="635628"/>
            <a:ext cx="7597348" cy="252064"/>
          </a:xfrm>
          <a:prstGeom prst="rect">
            <a:avLst/>
          </a:prstGeom>
          <a:solidFill>
            <a:schemeClr val="accent5"/>
          </a:solidFill>
        </p:spPr>
        <p:txBody>
          <a:bodyPr wrap="square">
            <a:spAutoFit/>
          </a:bodyPr>
          <a:lstStyle/>
          <a:p>
            <a:pPr lvl="0" algn="ctr">
              <a:lnSpc>
                <a:spcPct val="90000"/>
              </a:lnSpc>
              <a:buSzPts val="1100"/>
            </a:pPr>
            <a:endParaRPr lang="en-US" sz="1200">
              <a:solidFill>
                <a:prstClr val="black"/>
              </a:solidFill>
              <a:latin typeface="Tahoma" panose="020B0604030504040204" pitchFamily="34" charset="0"/>
              <a:ea typeface="Tahoma" panose="020B0604030504040204" pitchFamily="34" charset="0"/>
              <a:cs typeface="Times New Roman" panose="02020603050405020304" pitchFamily="18" charset="0"/>
            </a:endParaRPr>
          </a:p>
        </p:txBody>
      </p:sp>
      <p:sp>
        <p:nvSpPr>
          <p:cNvPr id="4" name="Rectangle 3">
            <a:extLst>
              <a:ext uri="{FF2B5EF4-FFF2-40B4-BE49-F238E27FC236}">
                <a16:creationId xmlns:a16="http://schemas.microsoft.com/office/drawing/2014/main" id="{3A8EC017-A636-4A59-84E8-3EB58E37A1DE}"/>
              </a:ext>
            </a:extLst>
          </p:cNvPr>
          <p:cNvSpPr/>
          <p:nvPr/>
        </p:nvSpPr>
        <p:spPr>
          <a:xfrm>
            <a:off x="229191" y="3220847"/>
            <a:ext cx="3886200" cy="258532"/>
          </a:xfrm>
          <a:prstGeom prst="rect">
            <a:avLst/>
          </a:prstGeom>
        </p:spPr>
        <p:txBody>
          <a:bodyPr>
            <a:spAutoFit/>
          </a:bodyPr>
          <a:lstStyle/>
          <a:p>
            <a:pPr marL="228600" marR="0" lvl="0" indent="-228600">
              <a:lnSpc>
                <a:spcPct val="90000"/>
              </a:lnSpc>
              <a:spcBef>
                <a:spcPts val="500"/>
              </a:spcBef>
              <a:spcAft>
                <a:spcPts val="500"/>
              </a:spcAft>
              <a:buSzPts val="1100"/>
              <a:buAutoNum type="arabicPeriod" startAt="3"/>
            </a:pPr>
            <a:endParaRPr lang="en-US" sz="1200">
              <a:effectLst/>
              <a:latin typeface="Tahoma" panose="020B0604030504040204" pitchFamily="34" charset="0"/>
              <a:ea typeface="Tahoma" panose="020B0604030504040204" pitchFamily="34" charset="0"/>
              <a:cs typeface="Times New Roman" panose="02020603050405020304" pitchFamily="18" charset="0"/>
            </a:endParaRPr>
          </a:p>
        </p:txBody>
      </p:sp>
      <p:pic>
        <p:nvPicPr>
          <p:cNvPr id="2055" name="Picture 4">
            <a:extLst>
              <a:ext uri="{FF2B5EF4-FFF2-40B4-BE49-F238E27FC236}">
                <a16:creationId xmlns:a16="http://schemas.microsoft.com/office/drawing/2014/main" id="{926408EC-FBA5-451B-95F4-F94AC50F3FC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0260" y="17511197"/>
            <a:ext cx="725307" cy="52807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7" name="Object 16">
            <a:extLst>
              <a:ext uri="{FF2B5EF4-FFF2-40B4-BE49-F238E27FC236}">
                <a16:creationId xmlns:a16="http://schemas.microsoft.com/office/drawing/2014/main" id="{7782576E-1EDF-4D16-A2E8-CCA4ED8E3D05}"/>
              </a:ext>
            </a:extLst>
          </p:cNvPr>
          <p:cNvGraphicFramePr>
            <a:graphicFrameLocks noChangeAspect="1"/>
          </p:cNvGraphicFramePr>
          <p:nvPr>
            <p:extLst>
              <p:ext uri="{D42A27DB-BD31-4B8C-83A1-F6EECF244321}">
                <p14:modId xmlns:p14="http://schemas.microsoft.com/office/powerpoint/2010/main" val="1940759570"/>
              </p:ext>
            </p:extLst>
          </p:nvPr>
        </p:nvGraphicFramePr>
        <p:xfrm>
          <a:off x="1435100" y="8936038"/>
          <a:ext cx="1108075" cy="280987"/>
        </p:xfrm>
        <a:graphic>
          <a:graphicData uri="http://schemas.openxmlformats.org/presentationml/2006/ole">
            <mc:AlternateContent xmlns:mc="http://schemas.openxmlformats.org/markup-compatibility/2006">
              <mc:Choice xmlns:v="urn:schemas-microsoft-com:vml" Requires="v">
                <p:oleObj spid="_x0000_s2055" name="Packager Shell Object" showAsIcon="1" r:id="rId4" imgW="1420920" imgH="361080" progId="Package">
                  <p:embed/>
                </p:oleObj>
              </mc:Choice>
              <mc:Fallback>
                <p:oleObj name="Packager Shell Object" showAsIcon="1" r:id="rId4" imgW="1420920" imgH="361080" progId="Package">
                  <p:embed/>
                  <p:pic>
                    <p:nvPicPr>
                      <p:cNvPr id="17" name="Object 16">
                        <a:extLst>
                          <a:ext uri="{FF2B5EF4-FFF2-40B4-BE49-F238E27FC236}">
                            <a16:creationId xmlns:a16="http://schemas.microsoft.com/office/drawing/2014/main" id="{7782576E-1EDF-4D16-A2E8-CCA4ED8E3D05}"/>
                          </a:ext>
                        </a:extLst>
                      </p:cNvPr>
                      <p:cNvPicPr/>
                      <p:nvPr/>
                    </p:nvPicPr>
                    <p:blipFill>
                      <a:blip r:embed="rId5"/>
                      <a:stretch>
                        <a:fillRect/>
                      </a:stretch>
                    </p:blipFill>
                    <p:spPr>
                      <a:xfrm>
                        <a:off x="1435100" y="8936038"/>
                        <a:ext cx="1108075" cy="2809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7EBA62FF-3630-425D-BF08-F531485D450A}"/>
              </a:ext>
            </a:extLst>
          </p:cNvPr>
          <p:cNvSpPr/>
          <p:nvPr/>
        </p:nvSpPr>
        <p:spPr>
          <a:xfrm>
            <a:off x="62125" y="894484"/>
            <a:ext cx="3806089" cy="14363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1" indent="-228600" algn="just">
              <a:spcAft>
                <a:spcPts val="200"/>
              </a:spcAft>
              <a:buFont typeface="+mj-lt"/>
              <a:buAutoNum type="alphaLcPeriod"/>
            </a:pPr>
            <a:r>
              <a:rPr lang="en-US" sz="1100" dirty="0" err="1">
                <a:solidFill>
                  <a:schemeClr val="tx1"/>
                </a:solidFill>
                <a:ea typeface="Tahoma" panose="020B0604030504040204" pitchFamily="34" charset="0"/>
                <a:cs typeface="Tahoma" panose="020B0604030504040204" pitchFamily="34" charset="0"/>
              </a:rPr>
              <a:t>Vandemoortele</a:t>
            </a:r>
            <a:r>
              <a:rPr lang="en-US" sz="1100" dirty="0">
                <a:solidFill>
                  <a:schemeClr val="tx1"/>
                </a:solidFill>
                <a:ea typeface="Tahoma" panose="020B0604030504040204" pitchFamily="34" charset="0"/>
                <a:cs typeface="Tahoma" panose="020B0604030504040204" pitchFamily="34" charset="0"/>
              </a:rPr>
              <a:t> continues to shape a tasty future by digitalizing supplier relationships and moving towards an electronic and more optimized process. </a:t>
            </a:r>
          </a:p>
          <a:p>
            <a:pPr marL="285750" marR="0" lvl="1" indent="-228600" algn="just">
              <a:spcAft>
                <a:spcPts val="200"/>
              </a:spcAft>
              <a:buFont typeface="+mj-lt"/>
              <a:buAutoNum type="alphaLcPeriod"/>
            </a:pPr>
            <a:r>
              <a:rPr lang="en-US" sz="1100" dirty="0">
                <a:solidFill>
                  <a:schemeClr val="tx1"/>
                </a:solidFill>
                <a:ea typeface="Tahoma" panose="020B0604030504040204" pitchFamily="34" charset="0"/>
                <a:cs typeface="Tahoma" panose="020B0604030504040204" pitchFamily="34" charset="0"/>
              </a:rPr>
              <a:t>We will soon collaborate with all our suppliers solely through the Ariba Network, a hosted service that enables suppliers and buyers to form relationships and conduct transactions over a centralized internet platform.</a:t>
            </a:r>
            <a:endParaRPr lang="en-US" sz="1100" dirty="0">
              <a:solidFill>
                <a:schemeClr val="tx1"/>
              </a:solidFill>
              <a:ea typeface="Tahoma" panose="020B0604030504040204" pitchFamily="34" charset="0"/>
              <a:cs typeface="Times New Roman" panose="02020603050405020304" pitchFamily="18" charset="0"/>
            </a:endParaRPr>
          </a:p>
        </p:txBody>
      </p:sp>
      <p:sp>
        <p:nvSpPr>
          <p:cNvPr id="34" name="Rectangle 33">
            <a:extLst>
              <a:ext uri="{FF2B5EF4-FFF2-40B4-BE49-F238E27FC236}">
                <a16:creationId xmlns:a16="http://schemas.microsoft.com/office/drawing/2014/main" id="{8F46C28D-0F8B-407C-9A55-2289EC29DF5A}"/>
              </a:ext>
            </a:extLst>
          </p:cNvPr>
          <p:cNvSpPr/>
          <p:nvPr/>
        </p:nvSpPr>
        <p:spPr>
          <a:xfrm>
            <a:off x="73453" y="638128"/>
            <a:ext cx="3657600" cy="256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 marR="0" lvl="0" algn="ctr">
              <a:lnSpc>
                <a:spcPct val="90000"/>
              </a:lnSpc>
              <a:spcAft>
                <a:spcPts val="600"/>
              </a:spcAft>
              <a:buSzPts val="1100"/>
              <a:buFont typeface="+mj-lt"/>
              <a:buAutoNum type="arabicPeriod"/>
            </a:pPr>
            <a:r>
              <a:rPr lang="en-US" sz="1100" b="1">
                <a:solidFill>
                  <a:schemeClr val="tx1"/>
                </a:solidFill>
                <a:ea typeface="Tahoma" panose="020B0604030504040204" pitchFamily="34" charset="0"/>
                <a:cs typeface="Tahoma" panose="020B0604030504040204" pitchFamily="34" charset="0"/>
              </a:rPr>
              <a:t> Why are you contacted?</a:t>
            </a:r>
            <a:endParaRPr lang="en-US" sz="1100">
              <a:solidFill>
                <a:schemeClr val="tx1"/>
              </a:solidFill>
              <a:ea typeface="Tahoma" panose="020B0604030504040204" pitchFamily="34" charset="0"/>
              <a:cs typeface="Times New Roman" panose="02020603050405020304" pitchFamily="18" charset="0"/>
            </a:endParaRPr>
          </a:p>
        </p:txBody>
      </p:sp>
      <p:sp>
        <p:nvSpPr>
          <p:cNvPr id="36" name="Rectangle 35">
            <a:extLst>
              <a:ext uri="{FF2B5EF4-FFF2-40B4-BE49-F238E27FC236}">
                <a16:creationId xmlns:a16="http://schemas.microsoft.com/office/drawing/2014/main" id="{738CCE86-9F44-4865-AA84-FB7C1E23603A}"/>
              </a:ext>
            </a:extLst>
          </p:cNvPr>
          <p:cNvSpPr/>
          <p:nvPr/>
        </p:nvSpPr>
        <p:spPr>
          <a:xfrm>
            <a:off x="4003649" y="638128"/>
            <a:ext cx="3657600" cy="256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 marR="0" lvl="0" algn="ctr">
              <a:lnSpc>
                <a:spcPct val="90000"/>
              </a:lnSpc>
              <a:spcAft>
                <a:spcPts val="600"/>
              </a:spcAft>
              <a:buSzPts val="1100"/>
            </a:pPr>
            <a:r>
              <a:rPr lang="en-US" sz="1100" b="1">
                <a:solidFill>
                  <a:schemeClr val="tx1"/>
                </a:solidFill>
                <a:ea typeface="Tahoma" panose="020B0604030504040204" pitchFamily="34" charset="0"/>
                <a:cs typeface="Tahoma" panose="020B0604030504040204" pitchFamily="34" charset="0"/>
              </a:rPr>
              <a:t>2. How can you register at SAP Ariba Network?</a:t>
            </a:r>
            <a:endParaRPr lang="en-US" sz="1100">
              <a:solidFill>
                <a:schemeClr val="tx1"/>
              </a:solidFill>
              <a:ea typeface="Tahoma" panose="020B0604030504040204" pitchFamily="34" charset="0"/>
              <a:cs typeface="Times New Roman" panose="02020603050405020304" pitchFamily="18" charset="0"/>
            </a:endParaRPr>
          </a:p>
        </p:txBody>
      </p:sp>
      <p:sp>
        <p:nvSpPr>
          <p:cNvPr id="39" name="Rectangle 38">
            <a:extLst>
              <a:ext uri="{FF2B5EF4-FFF2-40B4-BE49-F238E27FC236}">
                <a16:creationId xmlns:a16="http://schemas.microsoft.com/office/drawing/2014/main" id="{1153E19B-73B9-434F-9E77-EF1914CC31AB}"/>
              </a:ext>
            </a:extLst>
          </p:cNvPr>
          <p:cNvSpPr/>
          <p:nvPr/>
        </p:nvSpPr>
        <p:spPr>
          <a:xfrm>
            <a:off x="73453" y="2534773"/>
            <a:ext cx="3806088" cy="14363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1" indent="-228600" algn="just">
              <a:spcAft>
                <a:spcPts val="200"/>
              </a:spcAft>
              <a:buFont typeface="+mj-lt"/>
              <a:buAutoNum type="alphaLcPeriod"/>
            </a:pPr>
            <a:r>
              <a:rPr lang="en-US" sz="1100">
                <a:solidFill>
                  <a:schemeClr val="tx1"/>
                </a:solidFill>
                <a:ea typeface="Tahoma" panose="020B0604030504040204" pitchFamily="34" charset="0"/>
                <a:cs typeface="Tahoma" panose="020B0604030504040204" pitchFamily="34" charset="0"/>
              </a:rPr>
              <a:t>Find the Purchase Order notification email in your inbox and click process order.</a:t>
            </a:r>
          </a:p>
          <a:p>
            <a:pPr marL="285750" marR="0" lvl="1" indent="-228600" algn="just">
              <a:spcAft>
                <a:spcPts val="200"/>
              </a:spcAft>
              <a:buFont typeface="+mj-lt"/>
              <a:buAutoNum type="alphaLcPeriod"/>
            </a:pPr>
            <a:r>
              <a:rPr lang="en-US" sz="1100">
                <a:solidFill>
                  <a:schemeClr val="tx1"/>
                </a:solidFill>
                <a:ea typeface="Tahoma" panose="020B0604030504040204" pitchFamily="34" charset="0"/>
                <a:cs typeface="Tahoma" panose="020B0604030504040204" pitchFamily="34" charset="0"/>
              </a:rPr>
              <a:t>Log in with existing credentials or create an account if you are a new user.</a:t>
            </a:r>
          </a:p>
          <a:p>
            <a:pPr marL="285750" marR="0" lvl="1" indent="-228600" algn="just">
              <a:spcAft>
                <a:spcPts val="200"/>
              </a:spcAft>
              <a:buFont typeface="+mj-lt"/>
              <a:buAutoNum type="alphaLcPeriod"/>
            </a:pPr>
            <a:r>
              <a:rPr lang="en-US" sz="1100">
                <a:solidFill>
                  <a:schemeClr val="tx1"/>
                </a:solidFill>
                <a:ea typeface="Tahoma" panose="020B0604030504040204" pitchFamily="34" charset="0"/>
                <a:cs typeface="Tahoma" panose="020B0604030504040204" pitchFamily="34" charset="0"/>
              </a:rPr>
              <a:t>Click “Create Invoice” Button.</a:t>
            </a:r>
          </a:p>
          <a:p>
            <a:pPr marL="285750" marR="0" lvl="1" indent="-228600" algn="just">
              <a:spcAft>
                <a:spcPts val="200"/>
              </a:spcAft>
              <a:buFont typeface="+mj-lt"/>
              <a:buAutoNum type="alphaLcPeriod"/>
            </a:pPr>
            <a:r>
              <a:rPr lang="en-US" sz="1100">
                <a:solidFill>
                  <a:schemeClr val="tx1"/>
                </a:solidFill>
                <a:ea typeface="Tahoma" panose="020B0604030504040204" pitchFamily="34" charset="0"/>
                <a:cs typeface="Tahoma" panose="020B0604030504040204" pitchFamily="34" charset="0"/>
              </a:rPr>
              <a:t>Enter invoice number in the header portion of the invoice.</a:t>
            </a:r>
            <a:endParaRPr lang="en-US" sz="1100">
              <a:solidFill>
                <a:schemeClr val="tx1"/>
              </a:solidFill>
              <a:ea typeface="Tahoma" panose="020B0604030504040204" pitchFamily="34" charset="0"/>
              <a:cs typeface="Times New Roman" panose="02020603050405020304" pitchFamily="18" charset="0"/>
            </a:endParaRPr>
          </a:p>
        </p:txBody>
      </p:sp>
      <p:sp>
        <p:nvSpPr>
          <p:cNvPr id="41" name="Rectangle 40">
            <a:extLst>
              <a:ext uri="{FF2B5EF4-FFF2-40B4-BE49-F238E27FC236}">
                <a16:creationId xmlns:a16="http://schemas.microsoft.com/office/drawing/2014/main" id="{87186D68-3BBB-4575-85CC-0EA9EDB63502}"/>
              </a:ext>
            </a:extLst>
          </p:cNvPr>
          <p:cNvSpPr/>
          <p:nvPr/>
        </p:nvSpPr>
        <p:spPr>
          <a:xfrm>
            <a:off x="3869794" y="2534773"/>
            <a:ext cx="3801006" cy="1696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1" indent="-228600" algn="just">
              <a:spcAft>
                <a:spcPts val="200"/>
              </a:spcAft>
              <a:buFont typeface="+mj-lt"/>
              <a:buAutoNum type="alphaLcPeriod" startAt="5"/>
            </a:pPr>
            <a:r>
              <a:rPr lang="en-US" sz="1100" dirty="0">
                <a:solidFill>
                  <a:schemeClr val="tx1"/>
                </a:solidFill>
                <a:ea typeface="Tahoma" panose="020B0604030504040204" pitchFamily="34" charset="0"/>
                <a:cs typeface="Tahoma" panose="020B0604030504040204" pitchFamily="34" charset="0"/>
              </a:rPr>
              <a:t>Add remittance information in the header if required. Your customer will determine if tax and shipping can be entered at the header or line item level. Fill in the necessary fields and click next. </a:t>
            </a:r>
          </a:p>
          <a:p>
            <a:pPr marL="285750" marR="0" lvl="1" indent="-228600" algn="just">
              <a:spcAft>
                <a:spcPts val="200"/>
              </a:spcAft>
              <a:buFont typeface="+mj-lt"/>
              <a:buAutoNum type="alphaLcPeriod" startAt="5"/>
            </a:pPr>
            <a:r>
              <a:rPr lang="en-US" sz="1100" dirty="0">
                <a:solidFill>
                  <a:schemeClr val="tx1"/>
                </a:solidFill>
                <a:ea typeface="Tahoma" panose="020B0604030504040204" pitchFamily="34" charset="0"/>
                <a:cs typeface="Tahoma" panose="020B0604030504040204" pitchFamily="34" charset="0"/>
              </a:rPr>
              <a:t>Invoice review page: click submit to send the invoice to your customer. </a:t>
            </a:r>
          </a:p>
          <a:p>
            <a:pPr marL="285750" marR="0" lvl="1" indent="-228600" algn="just">
              <a:spcAft>
                <a:spcPts val="200"/>
              </a:spcAft>
              <a:buFont typeface="+mj-lt"/>
              <a:buAutoNum type="alphaLcPeriod" startAt="5"/>
            </a:pPr>
            <a:r>
              <a:rPr lang="en-US" sz="1100" dirty="0">
                <a:solidFill>
                  <a:schemeClr val="tx1"/>
                </a:solidFill>
                <a:ea typeface="Tahoma" panose="020B0604030504040204" pitchFamily="34" charset="0"/>
                <a:cs typeface="Tahoma" panose="020B0604030504040204" pitchFamily="34" charset="0"/>
              </a:rPr>
              <a:t>Receive a confirmation message through email. Attached is a PDF and XML version of the invoice for internal archiving purposes.</a:t>
            </a:r>
            <a:endParaRPr lang="en-US" sz="1100" dirty="0">
              <a:solidFill>
                <a:schemeClr val="tx1"/>
              </a:solidFill>
              <a:ea typeface="Tahoma" panose="020B0604030504040204" pitchFamily="34" charset="0"/>
              <a:cs typeface="Times New Roman" panose="02020603050405020304" pitchFamily="18" charset="0"/>
            </a:endParaRPr>
          </a:p>
        </p:txBody>
      </p:sp>
      <p:sp>
        <p:nvSpPr>
          <p:cNvPr id="43" name="Rectangle 42">
            <a:extLst>
              <a:ext uri="{FF2B5EF4-FFF2-40B4-BE49-F238E27FC236}">
                <a16:creationId xmlns:a16="http://schemas.microsoft.com/office/drawing/2014/main" id="{29593C96-48D9-406C-AF10-0C8120994318}"/>
              </a:ext>
            </a:extLst>
          </p:cNvPr>
          <p:cNvSpPr/>
          <p:nvPr/>
        </p:nvSpPr>
        <p:spPr>
          <a:xfrm>
            <a:off x="85874" y="4642439"/>
            <a:ext cx="3806088" cy="8219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57150" marR="0" lvl="1" algn="just">
              <a:spcAft>
                <a:spcPts val="200"/>
              </a:spcAft>
            </a:pPr>
            <a:r>
              <a:rPr lang="en-US" sz="1100" b="1" dirty="0">
                <a:solidFill>
                  <a:schemeClr val="tx1"/>
                </a:solidFill>
                <a:ea typeface="Tahoma" panose="020B0604030504040204" pitchFamily="34" charset="0"/>
                <a:cs typeface="Times New Roman" panose="02020603050405020304" pitchFamily="18" charset="0"/>
              </a:rPr>
              <a:t>Manually by your customer:</a:t>
            </a:r>
          </a:p>
          <a:p>
            <a:pPr marL="57150" marR="0" lvl="1" algn="just">
              <a:spcAft>
                <a:spcPts val="200"/>
              </a:spcAft>
            </a:pPr>
            <a:r>
              <a:rPr lang="en-US" sz="1100" dirty="0">
                <a:solidFill>
                  <a:schemeClr val="tx1"/>
                </a:solidFill>
                <a:ea typeface="Tahoma" panose="020B0604030504040204" pitchFamily="34" charset="0"/>
                <a:cs typeface="Times New Roman" panose="02020603050405020304" pitchFamily="18" charset="0"/>
              </a:rPr>
              <a:t>You would receive an email notification citing reason for rejection that you need to correct and resubmit the invoice.</a:t>
            </a:r>
          </a:p>
        </p:txBody>
      </p:sp>
      <p:sp>
        <p:nvSpPr>
          <p:cNvPr id="44" name="Rectangle 43">
            <a:extLst>
              <a:ext uri="{FF2B5EF4-FFF2-40B4-BE49-F238E27FC236}">
                <a16:creationId xmlns:a16="http://schemas.microsoft.com/office/drawing/2014/main" id="{F7425FBA-3799-4F8D-823D-69BFCEB7D4B0}"/>
              </a:ext>
            </a:extLst>
          </p:cNvPr>
          <p:cNvSpPr/>
          <p:nvPr/>
        </p:nvSpPr>
        <p:spPr>
          <a:xfrm>
            <a:off x="3869794" y="4642439"/>
            <a:ext cx="3801006" cy="8219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57150" marR="0" lvl="1" algn="just">
              <a:spcAft>
                <a:spcPts val="200"/>
              </a:spcAft>
            </a:pPr>
            <a:r>
              <a:rPr lang="en-US" sz="1100" b="1" dirty="0">
                <a:solidFill>
                  <a:schemeClr val="tx1"/>
                </a:solidFill>
                <a:ea typeface="Tahoma" panose="020B0604030504040204" pitchFamily="34" charset="0"/>
                <a:cs typeface="Times New Roman" panose="02020603050405020304" pitchFamily="18" charset="0"/>
              </a:rPr>
              <a:t>Automatically by your customer’s invoicing rules.</a:t>
            </a:r>
          </a:p>
          <a:p>
            <a:pPr marL="57150" marR="0" lvl="1" algn="just">
              <a:spcAft>
                <a:spcPts val="200"/>
              </a:spcAft>
            </a:pPr>
            <a:r>
              <a:rPr lang="en-US" sz="1100" dirty="0">
                <a:solidFill>
                  <a:schemeClr val="tx1"/>
                </a:solidFill>
                <a:ea typeface="Tahoma" panose="020B0604030504040204" pitchFamily="34" charset="0"/>
                <a:cs typeface="Times New Roman" panose="02020603050405020304" pitchFamily="18" charset="0"/>
              </a:rPr>
              <a:t>In case of noncompliance you would receive an invoice failure notification while trying to submit the invoice. Non-compliant fields would be identified.</a:t>
            </a:r>
          </a:p>
        </p:txBody>
      </p:sp>
      <p:sp>
        <p:nvSpPr>
          <p:cNvPr id="51" name="Rectangle 50">
            <a:extLst>
              <a:ext uri="{FF2B5EF4-FFF2-40B4-BE49-F238E27FC236}">
                <a16:creationId xmlns:a16="http://schemas.microsoft.com/office/drawing/2014/main" id="{D5BB9115-B68D-4F20-8993-7FDBFC162171}"/>
              </a:ext>
            </a:extLst>
          </p:cNvPr>
          <p:cNvSpPr/>
          <p:nvPr/>
        </p:nvSpPr>
        <p:spPr>
          <a:xfrm>
            <a:off x="85874" y="5757236"/>
            <a:ext cx="3806088" cy="20280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1" indent="-228600" algn="just">
              <a:spcAft>
                <a:spcPts val="200"/>
              </a:spcAft>
              <a:buFont typeface="+mj-lt"/>
              <a:buAutoNum type="alphaLcPeriod"/>
            </a:pPr>
            <a:r>
              <a:rPr lang="en-US" sz="1100">
                <a:solidFill>
                  <a:schemeClr val="tx1"/>
                </a:solidFill>
                <a:ea typeface="Tahoma" panose="020B0604030504040204" pitchFamily="34" charset="0"/>
                <a:cs typeface="Tahoma" panose="020B0604030504040204" pitchFamily="34" charset="0"/>
              </a:rPr>
              <a:t>Free for all basic transactions.</a:t>
            </a:r>
          </a:p>
          <a:p>
            <a:pPr marL="285750" marR="0" lvl="1" indent="-228600" algn="just">
              <a:spcAft>
                <a:spcPts val="200"/>
              </a:spcAft>
              <a:buFont typeface="+mj-lt"/>
              <a:buAutoNum type="alphaLcPeriod"/>
            </a:pPr>
            <a:r>
              <a:rPr lang="en-US" sz="1100">
                <a:solidFill>
                  <a:schemeClr val="tx1"/>
                </a:solidFill>
                <a:ea typeface="Tahoma" panose="020B0604030504040204" pitchFamily="34" charset="0"/>
                <a:cs typeface="Tahoma" panose="020B0604030504040204" pitchFamily="34" charset="0"/>
              </a:rPr>
              <a:t>Create validated, electronic invoices and other business documents within seconds. </a:t>
            </a:r>
          </a:p>
          <a:p>
            <a:pPr marL="285750" marR="0" lvl="1" indent="-228600" algn="just">
              <a:spcAft>
                <a:spcPts val="200"/>
              </a:spcAft>
              <a:buFont typeface="+mj-lt"/>
              <a:buAutoNum type="alphaLcPeriod"/>
            </a:pPr>
            <a:r>
              <a:rPr lang="en-US" sz="1100">
                <a:solidFill>
                  <a:schemeClr val="tx1"/>
                </a:solidFill>
                <a:ea typeface="Tahoma" panose="020B0604030504040204" pitchFamily="34" charset="0"/>
                <a:cs typeface="Tahoma" panose="020B0604030504040204" pitchFamily="34" charset="0"/>
              </a:rPr>
              <a:t>Improve invoice accuracy and get paid faster &amp; receive real time invoice status notifications.</a:t>
            </a:r>
          </a:p>
          <a:p>
            <a:pPr marL="285750" marR="0" lvl="1" indent="-228600" algn="just">
              <a:spcAft>
                <a:spcPts val="200"/>
              </a:spcAft>
              <a:buFont typeface="+mj-lt"/>
              <a:buAutoNum type="alphaLcPeriod"/>
            </a:pPr>
            <a:r>
              <a:rPr lang="en-US" sz="1100">
                <a:solidFill>
                  <a:schemeClr val="tx1"/>
                </a:solidFill>
                <a:ea typeface="Tahoma" panose="020B0604030504040204" pitchFamily="34" charset="0"/>
                <a:cs typeface="Tahoma" panose="020B0604030504040204" pitchFamily="34" charset="0"/>
              </a:rPr>
              <a:t>Increase business with existing and future customers using Ariba Discovery.</a:t>
            </a:r>
          </a:p>
          <a:p>
            <a:pPr marL="285750" marR="0" lvl="1" indent="-228600" algn="just">
              <a:spcAft>
                <a:spcPts val="200"/>
              </a:spcAft>
              <a:buFont typeface="+mj-lt"/>
              <a:buAutoNum type="alphaLcPeriod"/>
            </a:pPr>
            <a:r>
              <a:rPr lang="en-US" sz="1100">
                <a:solidFill>
                  <a:schemeClr val="tx1"/>
                </a:solidFill>
                <a:ea typeface="Tahoma" panose="020B0604030504040204" pitchFamily="34" charset="0"/>
                <a:cs typeface="Tahoma" panose="020B0604030504040204" pitchFamily="34" charset="0"/>
              </a:rPr>
              <a:t>Email notification and online download provide access to invoices for your local archiving. </a:t>
            </a:r>
          </a:p>
          <a:p>
            <a:pPr marL="285750" marR="0" lvl="1" indent="-228600" algn="just">
              <a:spcAft>
                <a:spcPts val="200"/>
              </a:spcAft>
              <a:buFont typeface="+mj-lt"/>
              <a:buAutoNum type="alphaLcPeriod"/>
            </a:pPr>
            <a:r>
              <a:rPr lang="en-US" sz="1100">
                <a:solidFill>
                  <a:schemeClr val="tx1"/>
                </a:solidFill>
                <a:ea typeface="Tahoma" panose="020B0604030504040204" pitchFamily="34" charset="0"/>
                <a:cs typeface="Tahoma" panose="020B0604030504040204" pitchFamily="34" charset="0"/>
              </a:rPr>
              <a:t>You will be able to setup a profile, create multiple users and more. See all benefits at the </a:t>
            </a:r>
            <a:r>
              <a:rPr lang="en-US" sz="1100">
                <a:solidFill>
                  <a:schemeClr val="tx1"/>
                </a:solidFill>
                <a:ea typeface="Tahoma" panose="020B0604030504040204" pitchFamily="34" charset="0"/>
                <a:cs typeface="Tahoma" panose="020B0604030504040204" pitchFamily="34" charset="0"/>
                <a:hlinkClick r:id="rId6"/>
              </a:rPr>
              <a:t>here</a:t>
            </a:r>
            <a:r>
              <a:rPr lang="en-US" sz="1100">
                <a:solidFill>
                  <a:schemeClr val="tx1"/>
                </a:solidFill>
                <a:ea typeface="Tahoma" panose="020B0604030504040204" pitchFamily="34" charset="0"/>
                <a:cs typeface="Tahoma" panose="020B0604030504040204" pitchFamily="34" charset="0"/>
              </a:rPr>
              <a:t>. </a:t>
            </a:r>
            <a:endParaRPr lang="en-US" sz="1100">
              <a:solidFill>
                <a:schemeClr val="tx1"/>
              </a:solidFill>
              <a:ea typeface="Tahoma" panose="020B0604030504040204" pitchFamily="34" charset="0"/>
              <a:cs typeface="Times New Roman" panose="02020603050405020304" pitchFamily="18" charset="0"/>
            </a:endParaRPr>
          </a:p>
        </p:txBody>
      </p:sp>
      <p:sp>
        <p:nvSpPr>
          <p:cNvPr id="52" name="Rectangle 51">
            <a:extLst>
              <a:ext uri="{FF2B5EF4-FFF2-40B4-BE49-F238E27FC236}">
                <a16:creationId xmlns:a16="http://schemas.microsoft.com/office/drawing/2014/main" id="{9DEB2F70-F491-49BE-84EF-57A0779BA361}"/>
              </a:ext>
            </a:extLst>
          </p:cNvPr>
          <p:cNvSpPr/>
          <p:nvPr/>
        </p:nvSpPr>
        <p:spPr>
          <a:xfrm>
            <a:off x="3869794" y="5757236"/>
            <a:ext cx="3801006" cy="20280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1" indent="-228600" algn="just">
              <a:spcAft>
                <a:spcPts val="200"/>
              </a:spcAft>
              <a:buFont typeface="+mj-lt"/>
              <a:buAutoNum type="alphaLcPeriod"/>
            </a:pPr>
            <a:r>
              <a:rPr lang="en-US" sz="1100" dirty="0">
                <a:solidFill>
                  <a:schemeClr val="tx1"/>
                </a:solidFill>
                <a:ea typeface="Tahoma" panose="020B0604030504040204" pitchFamily="34" charset="0"/>
                <a:cs typeface="Tahoma" panose="020B0604030504040204" pitchFamily="34" charset="0"/>
              </a:rPr>
              <a:t>Overview of </a:t>
            </a:r>
            <a:r>
              <a:rPr lang="en-US" sz="1100" dirty="0">
                <a:solidFill>
                  <a:schemeClr val="tx1"/>
                </a:solidFill>
                <a:ea typeface="Tahoma" panose="020B0604030504040204" pitchFamily="34" charset="0"/>
                <a:cs typeface="Tahoma" panose="020B0604030504040204" pitchFamily="34" charset="0"/>
                <a:hlinkClick r:id="rId7"/>
              </a:rPr>
              <a:t>Standard Account Demo</a:t>
            </a:r>
            <a:r>
              <a:rPr lang="en-US" sz="1100" dirty="0">
                <a:solidFill>
                  <a:schemeClr val="tx1"/>
                </a:solidFill>
                <a:ea typeface="Tahoma" panose="020B0604030504040204" pitchFamily="34" charset="0"/>
                <a:cs typeface="Tahoma" panose="020B0604030504040204" pitchFamily="34" charset="0"/>
              </a:rPr>
              <a:t>.</a:t>
            </a:r>
          </a:p>
          <a:p>
            <a:pPr marL="285750" marR="0" lvl="1" indent="-228600" algn="just">
              <a:spcAft>
                <a:spcPts val="200"/>
              </a:spcAft>
              <a:buFont typeface="+mj-lt"/>
              <a:buAutoNum type="alphaLcPeriod"/>
            </a:pPr>
            <a:r>
              <a:rPr lang="en-US" sz="1100" dirty="0">
                <a:solidFill>
                  <a:schemeClr val="tx1"/>
                </a:solidFill>
                <a:ea typeface="Tahoma" panose="020B0604030504040204" pitchFamily="34" charset="0"/>
                <a:cs typeface="Tahoma" panose="020B0604030504040204" pitchFamily="34" charset="0"/>
              </a:rPr>
              <a:t>Guidance on </a:t>
            </a:r>
            <a:r>
              <a:rPr lang="en-US" sz="1100" dirty="0">
                <a:solidFill>
                  <a:schemeClr val="tx1"/>
                </a:solidFill>
                <a:ea typeface="Tahoma" panose="020B0604030504040204" pitchFamily="34" charset="0"/>
                <a:cs typeface="Tahoma" panose="020B0604030504040204" pitchFamily="34" charset="0"/>
                <a:hlinkClick r:id="rId8"/>
              </a:rPr>
              <a:t>How to Invoice using Standard Account</a:t>
            </a:r>
            <a:r>
              <a:rPr lang="en-US" sz="1100" dirty="0">
                <a:solidFill>
                  <a:schemeClr val="tx1"/>
                </a:solidFill>
                <a:ea typeface="Tahoma" panose="020B0604030504040204" pitchFamily="34" charset="0"/>
                <a:cs typeface="Tahoma" panose="020B0604030504040204" pitchFamily="34" charset="0"/>
              </a:rPr>
              <a:t>. </a:t>
            </a:r>
          </a:p>
          <a:p>
            <a:pPr marL="285750" marR="0" lvl="1" indent="-228600" algn="just">
              <a:spcAft>
                <a:spcPts val="200"/>
              </a:spcAft>
              <a:buFont typeface="+mj-lt"/>
              <a:buAutoNum type="alphaLcPeriod"/>
            </a:pPr>
            <a:r>
              <a:rPr lang="en-US" sz="1100" dirty="0">
                <a:solidFill>
                  <a:schemeClr val="tx1"/>
                </a:solidFill>
                <a:ea typeface="Tahoma" panose="020B0604030504040204" pitchFamily="34" charset="0"/>
                <a:cs typeface="Tahoma" panose="020B0604030504040204" pitchFamily="34" charset="0"/>
                <a:hlinkClick r:id="rId9"/>
              </a:rPr>
              <a:t>Register</a:t>
            </a:r>
            <a:r>
              <a:rPr lang="en-US" sz="1100" dirty="0">
                <a:solidFill>
                  <a:schemeClr val="tx1"/>
                </a:solidFill>
                <a:ea typeface="Tahoma" panose="020B0604030504040204" pitchFamily="34" charset="0"/>
                <a:cs typeface="Tahoma" panose="020B0604030504040204" pitchFamily="34" charset="0"/>
              </a:rPr>
              <a:t> for live session guiding you on how to create and configure your SAP Ariba Network Standard Account every Thursday. Each session includes a Q&amp;A at the end. </a:t>
            </a:r>
          </a:p>
          <a:p>
            <a:pPr marL="285750" marR="0" lvl="1" indent="-228600" algn="just">
              <a:spcAft>
                <a:spcPts val="200"/>
              </a:spcAft>
              <a:buFont typeface="+mj-lt"/>
              <a:buAutoNum type="alphaLcPeriod"/>
            </a:pPr>
            <a:r>
              <a:rPr lang="en-US" sz="1100" dirty="0">
                <a:solidFill>
                  <a:schemeClr val="tx1"/>
                </a:solidFill>
                <a:ea typeface="Tahoma" panose="020B0604030504040204" pitchFamily="34" charset="0"/>
                <a:cs typeface="Tahoma" panose="020B0604030504040204" pitchFamily="34" charset="0"/>
              </a:rPr>
              <a:t>For more information, contact our enablement team at </a:t>
            </a:r>
            <a:r>
              <a:rPr lang="en-US" sz="1100" dirty="0">
                <a:solidFill>
                  <a:schemeClr val="tx1"/>
                </a:solidFill>
                <a:ea typeface="Tahoma" panose="020B0604030504040204" pitchFamily="34" charset="0"/>
                <a:cs typeface="Tahoma" panose="020B0604030504040204" pitchFamily="34" charset="0"/>
                <a:hlinkClick r:id="rId10"/>
              </a:rPr>
              <a:t>ariba.enablement@vandemoortele.com</a:t>
            </a:r>
            <a:r>
              <a:rPr lang="en-US" sz="1100" dirty="0">
                <a:solidFill>
                  <a:schemeClr val="tx1"/>
                </a:solidFill>
                <a:ea typeface="Tahoma" panose="020B0604030504040204" pitchFamily="34" charset="0"/>
                <a:cs typeface="Tahoma" panose="020B0604030504040204" pitchFamily="34" charset="0"/>
              </a:rPr>
              <a:t>.</a:t>
            </a:r>
          </a:p>
          <a:p>
            <a:pPr marL="285750" marR="0" lvl="1" indent="-228600" algn="just">
              <a:spcAft>
                <a:spcPts val="200"/>
              </a:spcAft>
              <a:buFont typeface="+mj-lt"/>
              <a:buAutoNum type="alphaLcPeriod"/>
            </a:pPr>
            <a:r>
              <a:rPr lang="en-US" sz="1100" dirty="0">
                <a:solidFill>
                  <a:schemeClr val="tx1"/>
                </a:solidFill>
                <a:ea typeface="Tahoma" panose="020B0604030504040204" pitchFamily="34" charset="0"/>
                <a:cs typeface="Tahoma" panose="020B0604030504040204" pitchFamily="34" charset="0"/>
              </a:rPr>
              <a:t>A new way for e-invoicing “PDF Uploader”</a:t>
            </a:r>
            <a:endParaRPr lang="en-US" sz="1100" dirty="0">
              <a:solidFill>
                <a:schemeClr val="tx1"/>
              </a:solidFill>
              <a:ea typeface="Tahoma" panose="020B0604030504040204" pitchFamily="34" charset="0"/>
              <a:cs typeface="Times New Roman" panose="02020603050405020304" pitchFamily="18" charset="0"/>
            </a:endParaRPr>
          </a:p>
        </p:txBody>
      </p:sp>
      <p:sp>
        <p:nvSpPr>
          <p:cNvPr id="56" name="Rectangle 55">
            <a:extLst>
              <a:ext uri="{FF2B5EF4-FFF2-40B4-BE49-F238E27FC236}">
                <a16:creationId xmlns:a16="http://schemas.microsoft.com/office/drawing/2014/main" id="{D7375184-5EF5-4DDA-8B72-20B1FF70D92C}"/>
              </a:ext>
            </a:extLst>
          </p:cNvPr>
          <p:cNvSpPr/>
          <p:nvPr/>
        </p:nvSpPr>
        <p:spPr>
          <a:xfrm>
            <a:off x="3869793" y="8126305"/>
            <a:ext cx="3791455" cy="1603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1" indent="-228600" algn="just">
              <a:spcAft>
                <a:spcPts val="200"/>
              </a:spcAft>
              <a:buFont typeface="+mj-lt"/>
              <a:buAutoNum type="alphaLcPeriod"/>
            </a:pPr>
            <a:r>
              <a:rPr lang="en-US" sz="1100">
                <a:solidFill>
                  <a:schemeClr val="tx1"/>
                </a:solidFill>
                <a:ea typeface="Tahoma" panose="020B0604030504040204" pitchFamily="34" charset="0"/>
                <a:cs typeface="Tahoma" panose="020B0604030504040204" pitchFamily="34" charset="0"/>
              </a:rPr>
              <a:t>For questions related to SAP Ariba’s Platform and processes, contact SAP Ariba’s Customer Support Team via </a:t>
            </a:r>
            <a:r>
              <a:rPr lang="en-US" sz="1100">
                <a:solidFill>
                  <a:schemeClr val="tx1"/>
                </a:solidFill>
                <a:ea typeface="Tahoma" panose="020B0604030504040204" pitchFamily="34" charset="0"/>
                <a:cs typeface="Tahoma" panose="020B0604030504040204" pitchFamily="34" charset="0"/>
                <a:hlinkClick r:id="rId11"/>
              </a:rPr>
              <a:t>Help Center</a:t>
            </a:r>
            <a:r>
              <a:rPr lang="en-US" sz="1100">
                <a:solidFill>
                  <a:schemeClr val="tx1"/>
                </a:solidFill>
                <a:ea typeface="Tahoma" panose="020B0604030504040204" pitchFamily="34" charset="0"/>
                <a:cs typeface="Tahoma" panose="020B0604030504040204" pitchFamily="34" charset="0"/>
              </a:rPr>
              <a:t>. This help center is also available in your SAP Ariba Network Account Dashboard.</a:t>
            </a:r>
          </a:p>
          <a:p>
            <a:pPr marL="285750" marR="0" lvl="1" indent="-228600" algn="just">
              <a:spcAft>
                <a:spcPts val="200"/>
              </a:spcAft>
              <a:buFont typeface="+mj-lt"/>
              <a:buAutoNum type="alphaLcPeriod"/>
            </a:pPr>
            <a:r>
              <a:rPr lang="en-US" sz="1100">
                <a:solidFill>
                  <a:schemeClr val="tx1"/>
                </a:solidFill>
                <a:ea typeface="Tahoma" panose="020B0604030504040204" pitchFamily="34" charset="0"/>
                <a:cs typeface="Tahoma" panose="020B0604030504040204" pitchFamily="34" charset="0"/>
              </a:rPr>
              <a:t>For questions about the SAP Ariba initiative at </a:t>
            </a:r>
            <a:r>
              <a:rPr lang="en-US" sz="1100" err="1">
                <a:solidFill>
                  <a:schemeClr val="tx1"/>
                </a:solidFill>
                <a:ea typeface="Tahoma" panose="020B0604030504040204" pitchFamily="34" charset="0"/>
                <a:cs typeface="Tahoma" panose="020B0604030504040204" pitchFamily="34" charset="0"/>
              </a:rPr>
              <a:t>Vandemoortele</a:t>
            </a:r>
            <a:r>
              <a:rPr lang="en-US" sz="1100">
                <a:solidFill>
                  <a:schemeClr val="tx1"/>
                </a:solidFill>
                <a:ea typeface="Tahoma" panose="020B0604030504040204" pitchFamily="34" charset="0"/>
                <a:cs typeface="Tahoma" panose="020B0604030504040204" pitchFamily="34" charset="0"/>
              </a:rPr>
              <a:t>, contact </a:t>
            </a:r>
            <a:r>
              <a:rPr lang="en-US" sz="1100">
                <a:solidFill>
                  <a:schemeClr val="tx1"/>
                </a:solidFill>
                <a:ea typeface="Tahoma" panose="020B0604030504040204" pitchFamily="34" charset="0"/>
                <a:cs typeface="Tahoma" panose="020B0604030504040204" pitchFamily="34" charset="0"/>
                <a:hlinkClick r:id="rId10"/>
              </a:rPr>
              <a:t>our enablement team</a:t>
            </a:r>
            <a:r>
              <a:rPr lang="en-US" sz="1100">
                <a:solidFill>
                  <a:schemeClr val="tx1"/>
                </a:solidFill>
                <a:ea typeface="Tahoma" panose="020B0604030504040204" pitchFamily="34" charset="0"/>
                <a:cs typeface="Tahoma" panose="020B0604030504040204" pitchFamily="34" charset="0"/>
              </a:rPr>
              <a:t>. </a:t>
            </a:r>
            <a:endParaRPr lang="en-US" sz="1100">
              <a:solidFill>
                <a:schemeClr val="tx1"/>
              </a:solidFill>
              <a:ea typeface="Tahoma" panose="020B0604030504040204" pitchFamily="34" charset="0"/>
              <a:cs typeface="Times New Roman" panose="02020603050405020304" pitchFamily="18" charset="0"/>
            </a:endParaRPr>
          </a:p>
        </p:txBody>
      </p:sp>
      <p:sp>
        <p:nvSpPr>
          <p:cNvPr id="57" name="Rectangle 56">
            <a:extLst>
              <a:ext uri="{FF2B5EF4-FFF2-40B4-BE49-F238E27FC236}">
                <a16:creationId xmlns:a16="http://schemas.microsoft.com/office/drawing/2014/main" id="{24FC8E63-5383-4AC9-B2FA-414B417E4C87}"/>
              </a:ext>
            </a:extLst>
          </p:cNvPr>
          <p:cNvSpPr/>
          <p:nvPr/>
        </p:nvSpPr>
        <p:spPr>
          <a:xfrm>
            <a:off x="87528" y="8126305"/>
            <a:ext cx="3806088" cy="16033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1" indent="-228600" algn="just">
              <a:spcAft>
                <a:spcPts val="200"/>
              </a:spcAft>
              <a:buFont typeface="+mj-lt"/>
              <a:buAutoNum type="alphaLcPeriod"/>
            </a:pPr>
            <a:r>
              <a:rPr lang="en-US" sz="1100">
                <a:solidFill>
                  <a:schemeClr val="tx1"/>
                </a:solidFill>
                <a:ea typeface="Tahoma" panose="020B0604030504040204" pitchFamily="34" charset="0"/>
                <a:cs typeface="Times New Roman" panose="02020603050405020304" pitchFamily="18" charset="0"/>
              </a:rPr>
              <a:t>See the attached guide “Upgrade from Standard Account to Enterprise Account” for details on how to upgrade &amp; enhanced features and functionalities of the Enterprise Account.</a:t>
            </a:r>
          </a:p>
        </p:txBody>
      </p:sp>
      <p:sp>
        <p:nvSpPr>
          <p:cNvPr id="59" name="Rectangle 58">
            <a:extLst>
              <a:ext uri="{FF2B5EF4-FFF2-40B4-BE49-F238E27FC236}">
                <a16:creationId xmlns:a16="http://schemas.microsoft.com/office/drawing/2014/main" id="{446F0D48-0768-4BE8-8D2F-DAF726D558DC}"/>
              </a:ext>
            </a:extLst>
          </p:cNvPr>
          <p:cNvSpPr/>
          <p:nvPr/>
        </p:nvSpPr>
        <p:spPr>
          <a:xfrm>
            <a:off x="76200" y="110485"/>
            <a:ext cx="7594600" cy="9883140"/>
          </a:xfrm>
          <a:prstGeom prst="rect">
            <a:avLst/>
          </a:prstGeom>
          <a:noFill/>
          <a:ln>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mbria"/>
              <a:ea typeface="+mn-ea"/>
              <a:cs typeface="+mn-cs"/>
            </a:endParaRPr>
          </a:p>
        </p:txBody>
      </p:sp>
      <p:pic>
        <p:nvPicPr>
          <p:cNvPr id="2051" name="Picture 2050">
            <a:extLst>
              <a:ext uri="{FF2B5EF4-FFF2-40B4-BE49-F238E27FC236}">
                <a16:creationId xmlns:a16="http://schemas.microsoft.com/office/drawing/2014/main" id="{24BC3BAB-BCF8-44A5-8CE0-B23FF4650D7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55202" y="9502147"/>
            <a:ext cx="1257711" cy="455060"/>
          </a:xfrm>
          <a:prstGeom prst="rect">
            <a:avLst/>
          </a:prstGeom>
        </p:spPr>
      </p:pic>
      <p:graphicFrame>
        <p:nvGraphicFramePr>
          <p:cNvPr id="6" name="Object 5">
            <a:extLst>
              <a:ext uri="{FF2B5EF4-FFF2-40B4-BE49-F238E27FC236}">
                <a16:creationId xmlns:a16="http://schemas.microsoft.com/office/drawing/2014/main" id="{F0AF53FF-B3BF-4BBB-8A6C-A286ACB37962}"/>
              </a:ext>
            </a:extLst>
          </p:cNvPr>
          <p:cNvGraphicFramePr>
            <a:graphicFrameLocks noChangeAspect="1"/>
          </p:cNvGraphicFramePr>
          <p:nvPr>
            <p:extLst>
              <p:ext uri="{D42A27DB-BD31-4B8C-83A1-F6EECF244321}">
                <p14:modId xmlns:p14="http://schemas.microsoft.com/office/powerpoint/2010/main" val="2808965837"/>
              </p:ext>
            </p:extLst>
          </p:nvPr>
        </p:nvGraphicFramePr>
        <p:xfrm>
          <a:off x="4826000" y="9369425"/>
          <a:ext cx="695325" cy="603250"/>
        </p:xfrm>
        <a:graphic>
          <a:graphicData uri="http://schemas.openxmlformats.org/presentationml/2006/ole">
            <mc:AlternateContent xmlns:mc="http://schemas.openxmlformats.org/markup-compatibility/2006">
              <mc:Choice xmlns:v="urn:schemas-microsoft-com:vml" Requires="v">
                <p:oleObj spid="_x0000_s2056" name="Document" showAsIcon="1" r:id="rId13" imgW="695160" imgH="603360" progId="Word.Document.12">
                  <p:embed/>
                </p:oleObj>
              </mc:Choice>
              <mc:Fallback>
                <p:oleObj name="Document" showAsIcon="1" r:id="rId13" imgW="695160" imgH="603360" progId="Word.Document.12">
                  <p:embed/>
                  <p:pic>
                    <p:nvPicPr>
                      <p:cNvPr id="6" name="Object 5">
                        <a:extLst>
                          <a:ext uri="{FF2B5EF4-FFF2-40B4-BE49-F238E27FC236}">
                            <a16:creationId xmlns:a16="http://schemas.microsoft.com/office/drawing/2014/main" id="{F0AF53FF-B3BF-4BBB-8A6C-A286ACB37962}"/>
                          </a:ext>
                        </a:extLst>
                      </p:cNvPr>
                      <p:cNvPicPr/>
                      <p:nvPr/>
                    </p:nvPicPr>
                    <p:blipFill>
                      <a:blip r:embed="rId14"/>
                      <a:stretch>
                        <a:fillRect/>
                      </a:stretch>
                    </p:blipFill>
                    <p:spPr>
                      <a:xfrm>
                        <a:off x="4826000" y="9369425"/>
                        <a:ext cx="695325" cy="603250"/>
                      </a:xfrm>
                      <a:prstGeom prst="rect">
                        <a:avLst/>
                      </a:prstGeom>
                    </p:spPr>
                  </p:pic>
                </p:oleObj>
              </mc:Fallback>
            </mc:AlternateContent>
          </a:graphicData>
        </a:graphic>
      </p:graphicFrame>
      <p:graphicFrame>
        <p:nvGraphicFramePr>
          <p:cNvPr id="7" name="Object 6">
            <a:extLst>
              <a:ext uri="{FF2B5EF4-FFF2-40B4-BE49-F238E27FC236}">
                <a16:creationId xmlns:a16="http://schemas.microsoft.com/office/drawing/2014/main" id="{B9B891DA-EBFF-4B02-9C99-E3ECDF4054C8}"/>
              </a:ext>
            </a:extLst>
          </p:cNvPr>
          <p:cNvGraphicFramePr>
            <a:graphicFrameLocks noChangeAspect="1"/>
          </p:cNvGraphicFramePr>
          <p:nvPr>
            <p:extLst>
              <p:ext uri="{D42A27DB-BD31-4B8C-83A1-F6EECF244321}">
                <p14:modId xmlns:p14="http://schemas.microsoft.com/office/powerpoint/2010/main" val="243177755"/>
              </p:ext>
            </p:extLst>
          </p:nvPr>
        </p:nvGraphicFramePr>
        <p:xfrm>
          <a:off x="5994400" y="9369425"/>
          <a:ext cx="695325" cy="603250"/>
        </p:xfrm>
        <a:graphic>
          <a:graphicData uri="http://schemas.openxmlformats.org/presentationml/2006/ole">
            <mc:AlternateContent xmlns:mc="http://schemas.openxmlformats.org/markup-compatibility/2006">
              <mc:Choice xmlns:v="urn:schemas-microsoft-com:vml" Requires="v">
                <p:oleObj spid="_x0000_s2057" name="Document" showAsIcon="1" r:id="rId15" imgW="695160" imgH="603360" progId="Word.Document.12">
                  <p:embed/>
                </p:oleObj>
              </mc:Choice>
              <mc:Fallback>
                <p:oleObj name="Document" showAsIcon="1" r:id="rId15" imgW="695160" imgH="603360" progId="Word.Document.12">
                  <p:embed/>
                  <p:pic>
                    <p:nvPicPr>
                      <p:cNvPr id="7" name="Object 6">
                        <a:extLst>
                          <a:ext uri="{FF2B5EF4-FFF2-40B4-BE49-F238E27FC236}">
                            <a16:creationId xmlns:a16="http://schemas.microsoft.com/office/drawing/2014/main" id="{B9B891DA-EBFF-4B02-9C99-E3ECDF4054C8}"/>
                          </a:ext>
                        </a:extLst>
                      </p:cNvPr>
                      <p:cNvPicPr/>
                      <p:nvPr/>
                    </p:nvPicPr>
                    <p:blipFill>
                      <a:blip r:embed="rId16"/>
                      <a:stretch>
                        <a:fillRect/>
                      </a:stretch>
                    </p:blipFill>
                    <p:spPr>
                      <a:xfrm>
                        <a:off x="5994400" y="9369425"/>
                        <a:ext cx="695325" cy="603250"/>
                      </a:xfrm>
                      <a:prstGeom prst="rect">
                        <a:avLst/>
                      </a:prstGeom>
                    </p:spPr>
                  </p:pic>
                </p:oleObj>
              </mc:Fallback>
            </mc:AlternateContent>
          </a:graphicData>
        </a:graphic>
      </p:graphicFrame>
      <p:graphicFrame>
        <p:nvGraphicFramePr>
          <p:cNvPr id="8" name="Object 7">
            <a:hlinkClick r:id="" action="ppaction://ole?verb=0"/>
            <a:extLst>
              <a:ext uri="{FF2B5EF4-FFF2-40B4-BE49-F238E27FC236}">
                <a16:creationId xmlns:a16="http://schemas.microsoft.com/office/drawing/2014/main" id="{DFE0F32C-2E3B-44B1-A991-DF90B10F5C02}"/>
              </a:ext>
            </a:extLst>
          </p:cNvPr>
          <p:cNvGraphicFramePr>
            <a:graphicFrameLocks noChangeAspect="1"/>
          </p:cNvGraphicFramePr>
          <p:nvPr>
            <p:extLst>
              <p:ext uri="{D42A27DB-BD31-4B8C-83A1-F6EECF244321}">
                <p14:modId xmlns:p14="http://schemas.microsoft.com/office/powerpoint/2010/main" val="608366385"/>
              </p:ext>
            </p:extLst>
          </p:nvPr>
        </p:nvGraphicFramePr>
        <p:xfrm>
          <a:off x="5484813" y="1344613"/>
          <a:ext cx="695325" cy="603250"/>
        </p:xfrm>
        <a:graphic>
          <a:graphicData uri="http://schemas.openxmlformats.org/presentationml/2006/ole">
            <mc:AlternateContent xmlns:mc="http://schemas.openxmlformats.org/markup-compatibility/2006">
              <mc:Choice xmlns:v="urn:schemas-microsoft-com:vml" Requires="v">
                <p:oleObj spid="_x0000_s2058" name="Presentation" showAsIcon="1" r:id="rId17" imgW="695160" imgH="603360" progId="PowerPoint.Show.12">
                  <p:embed/>
                </p:oleObj>
              </mc:Choice>
              <mc:Fallback>
                <p:oleObj name="Presentation" showAsIcon="1" r:id="rId17" imgW="695160" imgH="603360" progId="PowerPoint.Show.12">
                  <p:embed/>
                  <p:pic>
                    <p:nvPicPr>
                      <p:cNvPr id="8" name="Object 7">
                        <a:hlinkClick r:id="" action="ppaction://ole?verb=0"/>
                        <a:extLst>
                          <a:ext uri="{FF2B5EF4-FFF2-40B4-BE49-F238E27FC236}">
                            <a16:creationId xmlns:a16="http://schemas.microsoft.com/office/drawing/2014/main" id="{DFE0F32C-2E3B-44B1-A991-DF90B10F5C02}"/>
                          </a:ext>
                        </a:extLst>
                      </p:cNvPr>
                      <p:cNvPicPr/>
                      <p:nvPr/>
                    </p:nvPicPr>
                    <p:blipFill>
                      <a:blip r:embed="rId18"/>
                      <a:stretch>
                        <a:fillRect/>
                      </a:stretch>
                    </p:blipFill>
                    <p:spPr>
                      <a:xfrm>
                        <a:off x="5484813" y="1344613"/>
                        <a:ext cx="695325" cy="603250"/>
                      </a:xfrm>
                      <a:prstGeom prst="rect">
                        <a:avLst/>
                      </a:prstGeom>
                    </p:spPr>
                  </p:pic>
                </p:oleObj>
              </mc:Fallback>
            </mc:AlternateContent>
          </a:graphicData>
        </a:graphic>
      </p:graphicFrame>
      <p:graphicFrame>
        <p:nvGraphicFramePr>
          <p:cNvPr id="10" name="Object 9">
            <a:extLst>
              <a:ext uri="{FF2B5EF4-FFF2-40B4-BE49-F238E27FC236}">
                <a16:creationId xmlns:a16="http://schemas.microsoft.com/office/drawing/2014/main" id="{EFF7043D-620B-4826-A9A6-A222DC63E75F}"/>
              </a:ext>
            </a:extLst>
          </p:cNvPr>
          <p:cNvGraphicFramePr>
            <a:graphicFrameLocks noChangeAspect="1"/>
          </p:cNvGraphicFramePr>
          <p:nvPr>
            <p:extLst>
              <p:ext uri="{D42A27DB-BD31-4B8C-83A1-F6EECF244321}">
                <p14:modId xmlns:p14="http://schemas.microsoft.com/office/powerpoint/2010/main" val="1200817693"/>
              </p:ext>
            </p:extLst>
          </p:nvPr>
        </p:nvGraphicFramePr>
        <p:xfrm>
          <a:off x="6659563" y="7070725"/>
          <a:ext cx="835025" cy="736600"/>
        </p:xfrm>
        <a:graphic>
          <a:graphicData uri="http://schemas.openxmlformats.org/presentationml/2006/ole">
            <mc:AlternateContent xmlns:mc="http://schemas.openxmlformats.org/markup-compatibility/2006">
              <mc:Choice xmlns:v="urn:schemas-microsoft-com:vml" Requires="v">
                <p:oleObj spid="_x0000_s2059" name="Acrobat Document" showAsIcon="1" r:id="rId19" imgW="834480" imgH="736560" progId="AcroExch.Document.DC">
                  <p:embed/>
                </p:oleObj>
              </mc:Choice>
              <mc:Fallback>
                <p:oleObj name="Acrobat Document" showAsIcon="1" r:id="rId19" imgW="834480" imgH="736560" progId="AcroExch.Document.DC">
                  <p:embed/>
                  <p:pic>
                    <p:nvPicPr>
                      <p:cNvPr id="10" name="Object 9">
                        <a:extLst>
                          <a:ext uri="{FF2B5EF4-FFF2-40B4-BE49-F238E27FC236}">
                            <a16:creationId xmlns:a16="http://schemas.microsoft.com/office/drawing/2014/main" id="{EFF7043D-620B-4826-A9A6-A222DC63E75F}"/>
                          </a:ext>
                        </a:extLst>
                      </p:cNvPr>
                      <p:cNvPicPr/>
                      <p:nvPr/>
                    </p:nvPicPr>
                    <p:blipFill>
                      <a:blip r:embed="rId20"/>
                      <a:stretch>
                        <a:fillRect/>
                      </a:stretch>
                    </p:blipFill>
                    <p:spPr>
                      <a:xfrm>
                        <a:off x="6659563" y="7070725"/>
                        <a:ext cx="835025" cy="736600"/>
                      </a:xfrm>
                      <a:prstGeom prst="rect">
                        <a:avLst/>
                      </a:prstGeom>
                    </p:spPr>
                  </p:pic>
                </p:oleObj>
              </mc:Fallback>
            </mc:AlternateContent>
          </a:graphicData>
        </a:graphic>
      </p:graphicFrame>
    </p:spTree>
    <p:extLst>
      <p:ext uri="{BB962C8B-B14F-4D97-AF65-F5344CB8AC3E}">
        <p14:creationId xmlns:p14="http://schemas.microsoft.com/office/powerpoint/2010/main" val="14435323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structions how to use the template powerpoint presentation">
  <a:themeElements>
    <a:clrScheme name="Colors Vandemoortele">
      <a:dk1>
        <a:sysClr val="windowText" lastClr="000000"/>
      </a:dk1>
      <a:lt1>
        <a:sysClr val="window" lastClr="FFFFFF"/>
      </a:lt1>
      <a:dk2>
        <a:srgbClr val="3F0037"/>
      </a:dk2>
      <a:lt2>
        <a:srgbClr val="453D33"/>
      </a:lt2>
      <a:accent1>
        <a:srgbClr val="A6192E"/>
      </a:accent1>
      <a:accent2>
        <a:srgbClr val="4C0045"/>
      </a:accent2>
      <a:accent3>
        <a:srgbClr val="F09200"/>
      </a:accent3>
      <a:accent4>
        <a:srgbClr val="00AEC7"/>
      </a:accent4>
      <a:accent5>
        <a:srgbClr val="D3BC8D"/>
      </a:accent5>
      <a:accent6>
        <a:srgbClr val="E3E4DC"/>
      </a:accent6>
      <a:hlink>
        <a:srgbClr val="000000"/>
      </a:hlink>
      <a:folHlink>
        <a:srgbClr val="000000"/>
      </a:folHlink>
    </a:clrScheme>
    <a:fontScheme name="Fonts Vandemoortele">
      <a:majorFont>
        <a:latin typeface="Franklin Gothic Demi Cond"/>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a:defPPr>
      </a:lstStyle>
    </a:txDef>
  </a:objectDefaults>
  <a:extraClrSchemeLst/>
  <a:extLst>
    <a:ext uri="{05A4C25C-085E-4340-85A3-A5531E510DB2}">
      <thm15:themeFamily xmlns:thm15="http://schemas.microsoft.com/office/thememl/2012/main" name="Instructions how to use the template powerpoint presentation" id="{9F4D020E-D91C-4B9D-8617-A72DFFA2AD5E}" vid="{618B1F9B-AEC4-47C5-A83F-C0A955D658C0}"/>
    </a:ext>
  </a:extLst>
</a:theme>
</file>

<file path=ppt/theme/theme2.xml><?xml version="1.0" encoding="utf-8"?>
<a:theme xmlns:a="http://schemas.openxmlformats.org/drawingml/2006/main" name="Office Theme">
  <a:themeElements>
    <a:clrScheme name="Business Cards 2">
      <a:dk1>
        <a:sysClr val="windowText" lastClr="000000"/>
      </a:dk1>
      <a:lt1>
        <a:sysClr val="window" lastClr="FFFFFF"/>
      </a:lt1>
      <a:dk2>
        <a:srgbClr val="3C558C"/>
      </a:dk2>
      <a:lt2>
        <a:srgbClr val="C4C89C"/>
      </a:lt2>
      <a:accent1>
        <a:srgbClr val="5E864A"/>
      </a:accent1>
      <a:accent2>
        <a:srgbClr val="027F71"/>
      </a:accent2>
      <a:accent3>
        <a:srgbClr val="184A94"/>
      </a:accent3>
      <a:accent4>
        <a:srgbClr val="942828"/>
      </a:accent4>
      <a:accent5>
        <a:srgbClr val="57432F"/>
      </a:accent5>
      <a:accent6>
        <a:srgbClr val="3C2E20"/>
      </a:accent6>
      <a:hlink>
        <a:srgbClr val="527594"/>
      </a:hlink>
      <a:folHlink>
        <a:srgbClr val="953735"/>
      </a:folHlink>
    </a:clrScheme>
    <a:fontScheme name="Cambria">
      <a:maj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3.xml><?xml version="1.0" encoding="utf-8"?>
<a:theme xmlns:a="http://schemas.openxmlformats.org/drawingml/2006/main" name="Office Theme">
  <a:themeElements>
    <a:clrScheme name="Business Cards 2">
      <a:dk1>
        <a:sysClr val="windowText" lastClr="000000"/>
      </a:dk1>
      <a:lt1>
        <a:sysClr val="window" lastClr="FFFFFF"/>
      </a:lt1>
      <a:dk2>
        <a:srgbClr val="3C558C"/>
      </a:dk2>
      <a:lt2>
        <a:srgbClr val="C4C89C"/>
      </a:lt2>
      <a:accent1>
        <a:srgbClr val="5E864A"/>
      </a:accent1>
      <a:accent2>
        <a:srgbClr val="027F71"/>
      </a:accent2>
      <a:accent3>
        <a:srgbClr val="184A94"/>
      </a:accent3>
      <a:accent4>
        <a:srgbClr val="942828"/>
      </a:accent4>
      <a:accent5>
        <a:srgbClr val="57432F"/>
      </a:accent5>
      <a:accent6>
        <a:srgbClr val="3C2E20"/>
      </a:accent6>
      <a:hlink>
        <a:srgbClr val="527594"/>
      </a:hlink>
      <a:folHlink>
        <a:srgbClr val="953735"/>
      </a:folHlink>
    </a:clrScheme>
    <a:fontScheme name="Cambria">
      <a:maj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04EF532D4F4DF468DD37214FC4E60D8" ma:contentTypeVersion="3" ma:contentTypeDescription="Create a new document." ma:contentTypeScope="" ma:versionID="663fc97f3d8e32a2956199d6abed4889">
  <xsd:schema xmlns:xsd="http://www.w3.org/2001/XMLSchema" xmlns:xs="http://www.w3.org/2001/XMLSchema" xmlns:p="http://schemas.microsoft.com/office/2006/metadata/properties" xmlns:ns2="71e0f2ff-45c8-44f2-8d8a-6ed8060d8f01" targetNamespace="http://schemas.microsoft.com/office/2006/metadata/properties" ma:root="true" ma:fieldsID="ffd879b45282228180138531e37ce9a8" ns2:_="">
    <xsd:import namespace="71e0f2ff-45c8-44f2-8d8a-6ed8060d8f01"/>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e0f2ff-45c8-44f2-8d8a-6ed8060d8f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8975B09-FEBA-49B4-A392-811479F3599F}">
  <ds:schemaRefs>
    <ds:schemaRef ds:uri="http://schemas.microsoft.com/sharepoint/v3/contenttype/forms"/>
  </ds:schemaRefs>
</ds:datastoreItem>
</file>

<file path=customXml/itemProps2.xml><?xml version="1.0" encoding="utf-8"?>
<ds:datastoreItem xmlns:ds="http://schemas.openxmlformats.org/officeDocument/2006/customXml" ds:itemID="{65037A51-F49A-4E4D-ABBB-A08A0C4C37BD}">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71e0f2ff-45c8-44f2-8d8a-6ed8060d8f01"/>
    <ds:schemaRef ds:uri="http://www.w3.org/XML/1998/namespace"/>
  </ds:schemaRefs>
</ds:datastoreItem>
</file>

<file path=customXml/itemProps3.xml><?xml version="1.0" encoding="utf-8"?>
<ds:datastoreItem xmlns:ds="http://schemas.openxmlformats.org/officeDocument/2006/customXml" ds:itemID="{B83C1A43-BCD9-49EB-87F3-BFC1A859EB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e0f2ff-45c8-44f2-8d8a-6ed8060d8f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nstructions how to use the template powerpoint presentation</Template>
  <TotalTime>0</TotalTime>
  <Words>565</Words>
  <Application>Microsoft Office PowerPoint</Application>
  <PresentationFormat>Custom</PresentationFormat>
  <Paragraphs>38</Paragraphs>
  <Slides>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5</vt:i4>
      </vt:variant>
      <vt:variant>
        <vt:lpstr>Slide Titles</vt:lpstr>
      </vt:variant>
      <vt:variant>
        <vt:i4>1</vt:i4>
      </vt:variant>
    </vt:vector>
  </HeadingPairs>
  <TitlesOfParts>
    <vt:vector size="12" baseType="lpstr">
      <vt:lpstr>Arial</vt:lpstr>
      <vt:lpstr>Cambria</vt:lpstr>
      <vt:lpstr>Corbel</vt:lpstr>
      <vt:lpstr>Franklin Gothic Demi Cond</vt:lpstr>
      <vt:lpstr>Tahoma</vt:lpstr>
      <vt:lpstr>Instructions how to use the template powerpoint presentation</vt:lpstr>
      <vt:lpstr>think-cell Slide</vt:lpstr>
      <vt:lpstr>Packager Shell Object</vt:lpstr>
      <vt:lpstr>Document</vt:lpstr>
      <vt:lpstr>Presentation</vt:lpstr>
      <vt:lpstr>Acrobat Documen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cp:lastPrinted>2018-03-07T14:30:32Z</cp:lastPrinted>
  <dcterms:modified xsi:type="dcterms:W3CDTF">2019-08-09T14:4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29226739991</vt:lpwstr>
  </property>
  <property fmtid="{D5CDD505-2E9C-101B-9397-08002B2CF9AE}" pid="3" name="ContentTypeId">
    <vt:lpwstr>0x010100A04EF532D4F4DF468DD37214FC4E60D8</vt:lpwstr>
  </property>
</Properties>
</file>